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5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6.xml" ContentType="application/vnd.openxmlformats-officedocument.theme+xml"/>
  <Override PartName="/ppt/tags/tag16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7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8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9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10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11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theme/theme1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4"/>
    <p:sldMasterId id="2147483671" r:id="rId5"/>
    <p:sldMasterId id="2147483683" r:id="rId6"/>
    <p:sldMasterId id="2147483691" r:id="rId7"/>
    <p:sldMasterId id="2147483699" r:id="rId8"/>
    <p:sldMasterId id="2147483715" r:id="rId9"/>
    <p:sldMasterId id="2147483728" r:id="rId10"/>
    <p:sldMasterId id="2147483733" r:id="rId11"/>
    <p:sldMasterId id="2147483739" r:id="rId12"/>
    <p:sldMasterId id="2147483745" r:id="rId13"/>
    <p:sldMasterId id="2147483751" r:id="rId14"/>
    <p:sldMasterId id="2147483810" r:id="rId15"/>
  </p:sldMasterIdLst>
  <p:notesMasterIdLst>
    <p:notesMasterId r:id="rId42"/>
  </p:notesMasterIdLst>
  <p:handoutMasterIdLst>
    <p:handoutMasterId r:id="rId43"/>
  </p:handoutMasterIdLst>
  <p:sldIdLst>
    <p:sldId id="483" r:id="rId16"/>
    <p:sldId id="543" r:id="rId17"/>
    <p:sldId id="559" r:id="rId18"/>
    <p:sldId id="607" r:id="rId19"/>
    <p:sldId id="561" r:id="rId20"/>
    <p:sldId id="590" r:id="rId21"/>
    <p:sldId id="606" r:id="rId22"/>
    <p:sldId id="591" r:id="rId23"/>
    <p:sldId id="592" r:id="rId24"/>
    <p:sldId id="593" r:id="rId25"/>
    <p:sldId id="604" r:id="rId26"/>
    <p:sldId id="574" r:id="rId27"/>
    <p:sldId id="605" r:id="rId28"/>
    <p:sldId id="581" r:id="rId29"/>
    <p:sldId id="603" r:id="rId30"/>
    <p:sldId id="582" r:id="rId31"/>
    <p:sldId id="600" r:id="rId32"/>
    <p:sldId id="584" r:id="rId33"/>
    <p:sldId id="585" r:id="rId34"/>
    <p:sldId id="586" r:id="rId35"/>
    <p:sldId id="588" r:id="rId36"/>
    <p:sldId id="597" r:id="rId37"/>
    <p:sldId id="601" r:id="rId38"/>
    <p:sldId id="602" r:id="rId39"/>
    <p:sldId id="580" r:id="rId40"/>
    <p:sldId id="599" r:id="rId41"/>
  </p:sldIdLst>
  <p:sldSz cx="9144000" cy="6858000" type="screen4x3"/>
  <p:notesSz cx="7010400" cy="9296400"/>
  <p:custDataLst>
    <p:tags r:id="rId4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how, Yvonne (HPC)" initials="YC" lastIdx="2" clrIdx="0"/>
  <p:cmAuthor id="7" name="KSB" initials="KSB" lastIdx="5" clrIdx="7"/>
  <p:cmAuthor id="1" name="user" initials="u" lastIdx="2" clrIdx="1"/>
  <p:cmAuthor id="8" name="lshaughnessy" initials="ls" lastIdx="3" clrIdx="8"/>
  <p:cmAuthor id="2" name="Michael Bailit" initials="MB" lastIdx="26" clrIdx="2">
    <p:extLst/>
  </p:cmAuthor>
  <p:cmAuthor id="3" name="Cristi Carman" initials="CC" lastIdx="0" clrIdx="3"/>
  <p:cmAuthor id="4" name="Deepti Kanneganti" initials="DK" lastIdx="31" clrIdx="4">
    <p:extLst/>
  </p:cmAuthor>
  <p:cmAuthor id="5" name="Deepti Kanneganti" initials="DK [2]" lastIdx="1" clrIdx="5">
    <p:extLst/>
  </p:cmAuthor>
  <p:cmAuthor id="6" name="Vivian Haime" initials="VH" lastIdx="1" clrIdx="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99"/>
    <a:srgbClr val="FEEDD3"/>
    <a:srgbClr val="005480"/>
    <a:srgbClr val="8E0000"/>
    <a:srgbClr val="336699"/>
    <a:srgbClr val="8C3FC5"/>
    <a:srgbClr val="225E95"/>
    <a:srgbClr val="7CBF33"/>
    <a:srgbClr val="8238B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97" autoAdjust="0"/>
    <p:restoredTop sz="95429" autoAdjust="0"/>
  </p:normalViewPr>
  <p:slideViewPr>
    <p:cSldViewPr>
      <p:cViewPr varScale="1">
        <p:scale>
          <a:sx n="90" d="100"/>
          <a:sy n="90" d="100"/>
        </p:scale>
        <p:origin x="1386" y="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3534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99" d="100"/>
          <a:sy n="99" d="100"/>
        </p:scale>
        <p:origin x="-3576" y="-102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9" Type="http://schemas.openxmlformats.org/officeDocument/2006/relationships/slide" Target="slides/slide24.xml"/><Relationship Id="rId3" Type="http://schemas.openxmlformats.org/officeDocument/2006/relationships/customXml" Target="../customXml/item3.xml"/><Relationship Id="rId21" Type="http://schemas.openxmlformats.org/officeDocument/2006/relationships/slide" Target="slides/slide6.xml"/><Relationship Id="rId34" Type="http://schemas.openxmlformats.org/officeDocument/2006/relationships/slide" Target="slides/slide19.xml"/><Relationship Id="rId42" Type="http://schemas.openxmlformats.org/officeDocument/2006/relationships/notesMaster" Target="notesMasters/notesMaster1.xml"/><Relationship Id="rId47" Type="http://schemas.openxmlformats.org/officeDocument/2006/relationships/viewProps" Target="viewProps.xml"/><Relationship Id="rId50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slide" Target="slides/slide18.xml"/><Relationship Id="rId38" Type="http://schemas.openxmlformats.org/officeDocument/2006/relationships/slide" Target="slides/slide23.xml"/><Relationship Id="rId46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29" Type="http://schemas.openxmlformats.org/officeDocument/2006/relationships/slide" Target="slides/slide14.xml"/><Relationship Id="rId41" Type="http://schemas.openxmlformats.org/officeDocument/2006/relationships/slide" Target="slides/slide26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9.xml"/><Relationship Id="rId32" Type="http://schemas.openxmlformats.org/officeDocument/2006/relationships/slide" Target="slides/slide17.xml"/><Relationship Id="rId37" Type="http://schemas.openxmlformats.org/officeDocument/2006/relationships/slide" Target="slides/slide22.xml"/><Relationship Id="rId40" Type="http://schemas.openxmlformats.org/officeDocument/2006/relationships/slide" Target="slides/slide25.xml"/><Relationship Id="rId45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slide" Target="slides/slide21.xml"/><Relationship Id="rId49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4.xml"/><Relationship Id="rId31" Type="http://schemas.openxmlformats.org/officeDocument/2006/relationships/slide" Target="slides/slide16.xml"/><Relationship Id="rId44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slide" Target="slides/slide20.xml"/><Relationship Id="rId43" Type="http://schemas.openxmlformats.org/officeDocument/2006/relationships/handoutMaster" Target="handoutMasters/handoutMaster1.xml"/><Relationship Id="rId48" Type="http://schemas.openxmlformats.org/officeDocument/2006/relationships/theme" Target="theme/theme1.xml"/><Relationship Id="rId8" Type="http://schemas.openxmlformats.org/officeDocument/2006/relationships/slideMaster" Target="slideMasters/slideMaster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chael Bailit" userId="6e5c4604-85bf-41ef-8e97-4724b7d56589" providerId="ADAL" clId="{EDAC1A14-1096-46EC-B990-0E93C6F7D3C6}"/>
    <pc:docChg chg="undo custSel addSld modSld sldOrd">
      <pc:chgData name="Michael Bailit" userId="6e5c4604-85bf-41ef-8e97-4724b7d56589" providerId="ADAL" clId="{EDAC1A14-1096-46EC-B990-0E93C6F7D3C6}" dt="2017-08-07T20:03:58.430" v="1427"/>
      <pc:docMkLst>
        <pc:docMk/>
      </pc:docMkLst>
      <pc:sldChg chg="modSp">
        <pc:chgData name="Michael Bailit" userId="6e5c4604-85bf-41ef-8e97-4724b7d56589" providerId="ADAL" clId="{EDAC1A14-1096-46EC-B990-0E93C6F7D3C6}" dt="2017-08-07T19:11:15.607" v="39" actId="20577"/>
        <pc:sldMkLst>
          <pc:docMk/>
          <pc:sldMk cId="3955493892" sldId="543"/>
        </pc:sldMkLst>
        <pc:spChg chg="mod">
          <ac:chgData name="Michael Bailit" userId="6e5c4604-85bf-41ef-8e97-4724b7d56589" providerId="ADAL" clId="{EDAC1A14-1096-46EC-B990-0E93C6F7D3C6}" dt="2017-08-07T19:11:15.607" v="39" actId="20577"/>
          <ac:spMkLst>
            <pc:docMk/>
            <pc:sldMk cId="3955493892" sldId="543"/>
            <ac:spMk id="3" creationId="{00000000-0000-0000-0000-000000000000}"/>
          </ac:spMkLst>
        </pc:spChg>
      </pc:sldChg>
      <pc:sldChg chg="modSp">
        <pc:chgData name="Michael Bailit" userId="6e5c4604-85bf-41ef-8e97-4724b7d56589" providerId="ADAL" clId="{EDAC1A14-1096-46EC-B990-0E93C6F7D3C6}" dt="2017-08-07T19:12:33.889" v="76" actId="1076"/>
        <pc:sldMkLst>
          <pc:docMk/>
          <pc:sldMk cId="3378586143" sldId="559"/>
        </pc:sldMkLst>
        <pc:spChg chg="mod">
          <ac:chgData name="Michael Bailit" userId="6e5c4604-85bf-41ef-8e97-4724b7d56589" providerId="ADAL" clId="{EDAC1A14-1096-46EC-B990-0E93C6F7D3C6}" dt="2017-08-07T19:12:27.036" v="75" actId="20577"/>
          <ac:spMkLst>
            <pc:docMk/>
            <pc:sldMk cId="3378586143" sldId="559"/>
            <ac:spMk id="3" creationId="{00000000-0000-0000-0000-000000000000}"/>
          </ac:spMkLst>
        </pc:spChg>
        <pc:spChg chg="mod">
          <ac:chgData name="Michael Bailit" userId="6e5c4604-85bf-41ef-8e97-4724b7d56589" providerId="ADAL" clId="{EDAC1A14-1096-46EC-B990-0E93C6F7D3C6}" dt="2017-08-07T19:12:33.889" v="76" actId="1076"/>
          <ac:spMkLst>
            <pc:docMk/>
            <pc:sldMk cId="3378586143" sldId="559"/>
            <ac:spMk id="4" creationId="{00000000-0000-0000-0000-000000000000}"/>
          </ac:spMkLst>
        </pc:spChg>
      </pc:sldChg>
      <pc:sldChg chg="modSp ord">
        <pc:chgData name="Michael Bailit" userId="6e5c4604-85bf-41ef-8e97-4724b7d56589" providerId="ADAL" clId="{EDAC1A14-1096-46EC-B990-0E93C6F7D3C6}" dt="2017-08-07T19:41:41.922" v="1291" actId="14100"/>
        <pc:sldMkLst>
          <pc:docMk/>
          <pc:sldMk cId="2040214131" sldId="561"/>
        </pc:sldMkLst>
        <pc:spChg chg="mod">
          <ac:chgData name="Michael Bailit" userId="6e5c4604-85bf-41ef-8e97-4724b7d56589" providerId="ADAL" clId="{EDAC1A14-1096-46EC-B990-0E93C6F7D3C6}" dt="2017-08-07T19:41:35.616" v="1290" actId="20577"/>
          <ac:spMkLst>
            <pc:docMk/>
            <pc:sldMk cId="2040214131" sldId="561"/>
            <ac:spMk id="3" creationId="{00000000-0000-0000-0000-000000000000}"/>
          </ac:spMkLst>
        </pc:spChg>
        <pc:spChg chg="mod">
          <ac:chgData name="Michael Bailit" userId="6e5c4604-85bf-41ef-8e97-4724b7d56589" providerId="ADAL" clId="{EDAC1A14-1096-46EC-B990-0E93C6F7D3C6}" dt="2017-08-07T19:41:41.922" v="1291" actId="14100"/>
          <ac:spMkLst>
            <pc:docMk/>
            <pc:sldMk cId="2040214131" sldId="561"/>
            <ac:spMk id="4" creationId="{00000000-0000-0000-0000-000000000000}"/>
          </ac:spMkLst>
        </pc:spChg>
      </pc:sldChg>
      <pc:sldChg chg="modSp">
        <pc:chgData name="Michael Bailit" userId="6e5c4604-85bf-41ef-8e97-4724b7d56589" providerId="ADAL" clId="{EDAC1A14-1096-46EC-B990-0E93C6F7D3C6}" dt="2017-08-07T19:48:37.107" v="1391" actId="1076"/>
        <pc:sldMkLst>
          <pc:docMk/>
          <pc:sldMk cId="2954849363" sldId="580"/>
        </pc:sldMkLst>
        <pc:spChg chg="mod">
          <ac:chgData name="Michael Bailit" userId="6e5c4604-85bf-41ef-8e97-4724b7d56589" providerId="ADAL" clId="{EDAC1A14-1096-46EC-B990-0E93C6F7D3C6}" dt="2017-08-07T19:48:27.184" v="1390" actId="20577"/>
          <ac:spMkLst>
            <pc:docMk/>
            <pc:sldMk cId="2954849363" sldId="580"/>
            <ac:spMk id="3" creationId="{00000000-0000-0000-0000-000000000000}"/>
          </ac:spMkLst>
        </pc:spChg>
        <pc:spChg chg="mod">
          <ac:chgData name="Michael Bailit" userId="6e5c4604-85bf-41ef-8e97-4724b7d56589" providerId="ADAL" clId="{EDAC1A14-1096-46EC-B990-0E93C6F7D3C6}" dt="2017-08-07T19:48:37.107" v="1391" actId="1076"/>
          <ac:spMkLst>
            <pc:docMk/>
            <pc:sldMk cId="2954849363" sldId="580"/>
            <ac:spMk id="4" creationId="{00000000-0000-0000-0000-000000000000}"/>
          </ac:spMkLst>
        </pc:spChg>
      </pc:sldChg>
      <pc:sldChg chg="modSp modAnim">
        <pc:chgData name="Michael Bailit" userId="6e5c4604-85bf-41ef-8e97-4724b7d56589" providerId="ADAL" clId="{EDAC1A14-1096-46EC-B990-0E93C6F7D3C6}" dt="2017-08-07T20:03:58.430" v="1427"/>
        <pc:sldMkLst>
          <pc:docMk/>
          <pc:sldMk cId="3484491203" sldId="590"/>
        </pc:sldMkLst>
        <pc:spChg chg="mod">
          <ac:chgData name="Michael Bailit" userId="6e5c4604-85bf-41ef-8e97-4724b7d56589" providerId="ADAL" clId="{EDAC1A14-1096-46EC-B990-0E93C6F7D3C6}" dt="2017-08-07T19:18:04.362" v="230" actId="20577"/>
          <ac:spMkLst>
            <pc:docMk/>
            <pc:sldMk cId="3484491203" sldId="590"/>
            <ac:spMk id="2" creationId="{00000000-0000-0000-0000-000000000000}"/>
          </ac:spMkLst>
        </pc:spChg>
        <pc:spChg chg="mod">
          <ac:chgData name="Michael Bailit" userId="6e5c4604-85bf-41ef-8e97-4724b7d56589" providerId="ADAL" clId="{EDAC1A14-1096-46EC-B990-0E93C6F7D3C6}" dt="2017-08-07T20:03:58.430" v="1427"/>
          <ac:spMkLst>
            <pc:docMk/>
            <pc:sldMk cId="3484491203" sldId="590"/>
            <ac:spMk id="3" creationId="{00000000-0000-0000-0000-000000000000}"/>
          </ac:spMkLst>
        </pc:spChg>
      </pc:sldChg>
      <pc:sldChg chg="modSp modAnim">
        <pc:chgData name="Michael Bailit" userId="6e5c4604-85bf-41ef-8e97-4724b7d56589" providerId="ADAL" clId="{EDAC1A14-1096-46EC-B990-0E93C6F7D3C6}" dt="2017-08-07T19:27:12.012" v="633" actId="1076"/>
        <pc:sldMkLst>
          <pc:docMk/>
          <pc:sldMk cId="3252426055" sldId="591"/>
        </pc:sldMkLst>
        <pc:spChg chg="mod">
          <ac:chgData name="Michael Bailit" userId="6e5c4604-85bf-41ef-8e97-4724b7d56589" providerId="ADAL" clId="{EDAC1A14-1096-46EC-B990-0E93C6F7D3C6}" dt="2017-08-07T19:26:21.718" v="628" actId="1076"/>
          <ac:spMkLst>
            <pc:docMk/>
            <pc:sldMk cId="3252426055" sldId="591"/>
            <ac:spMk id="3" creationId="{00000000-0000-0000-0000-000000000000}"/>
          </ac:spMkLst>
        </pc:spChg>
      </pc:sldChg>
      <pc:sldChg chg="modSp modAnim">
        <pc:chgData name="Michael Bailit" userId="6e5c4604-85bf-41ef-8e97-4724b7d56589" providerId="ADAL" clId="{EDAC1A14-1096-46EC-B990-0E93C6F7D3C6}" dt="2017-08-07T19:27:38.111" v="635" actId="1076"/>
        <pc:sldMkLst>
          <pc:docMk/>
          <pc:sldMk cId="3292094603" sldId="592"/>
        </pc:sldMkLst>
        <pc:spChg chg="mod">
          <ac:chgData name="Michael Bailit" userId="6e5c4604-85bf-41ef-8e97-4724b7d56589" providerId="ADAL" clId="{EDAC1A14-1096-46EC-B990-0E93C6F7D3C6}" dt="2017-08-07T19:26:40.202" v="631" actId="255"/>
          <ac:spMkLst>
            <pc:docMk/>
            <pc:sldMk cId="3292094603" sldId="592"/>
            <ac:spMk id="3" creationId="{00000000-0000-0000-0000-000000000000}"/>
          </ac:spMkLst>
        </pc:spChg>
      </pc:sldChg>
      <pc:sldChg chg="modSp modAnim">
        <pc:chgData name="Michael Bailit" userId="6e5c4604-85bf-41ef-8e97-4724b7d56589" providerId="ADAL" clId="{EDAC1A14-1096-46EC-B990-0E93C6F7D3C6}" dt="2017-08-07T19:29:13.690" v="636" actId="1076"/>
        <pc:sldMkLst>
          <pc:docMk/>
          <pc:sldMk cId="277409424" sldId="593"/>
        </pc:sldMkLst>
        <pc:spChg chg="mod">
          <ac:chgData name="Michael Bailit" userId="6e5c4604-85bf-41ef-8e97-4724b7d56589" providerId="ADAL" clId="{EDAC1A14-1096-46EC-B990-0E93C6F7D3C6}" dt="2017-08-07T19:17:21.879" v="212" actId="20577"/>
          <ac:spMkLst>
            <pc:docMk/>
            <pc:sldMk cId="277409424" sldId="593"/>
            <ac:spMk id="3" creationId="{00000000-0000-0000-0000-000000000000}"/>
          </ac:spMkLst>
        </pc:spChg>
      </pc:sldChg>
      <pc:sldChg chg="modSp">
        <pc:chgData name="Michael Bailit" userId="6e5c4604-85bf-41ef-8e97-4724b7d56589" providerId="ADAL" clId="{EDAC1A14-1096-46EC-B990-0E93C6F7D3C6}" dt="2017-08-07T19:48:02.042" v="1362" actId="20577"/>
        <pc:sldMkLst>
          <pc:docMk/>
          <pc:sldMk cId="250104446" sldId="602"/>
        </pc:sldMkLst>
        <pc:graphicFrameChg chg="modGraphic">
          <ac:chgData name="Michael Bailit" userId="6e5c4604-85bf-41ef-8e97-4724b7d56589" providerId="ADAL" clId="{EDAC1A14-1096-46EC-B990-0E93C6F7D3C6}" dt="2017-08-07T19:48:02.042" v="1362" actId="20577"/>
          <ac:graphicFrameMkLst>
            <pc:docMk/>
            <pc:sldMk cId="250104446" sldId="602"/>
            <ac:graphicFrameMk id="7" creationId="{00000000-0000-0000-0000-000000000000}"/>
          </ac:graphicFrameMkLst>
        </pc:graphicFrameChg>
      </pc:sldChg>
      <pc:sldChg chg="modSp">
        <pc:chgData name="Michael Bailit" userId="6e5c4604-85bf-41ef-8e97-4724b7d56589" providerId="ADAL" clId="{EDAC1A14-1096-46EC-B990-0E93C6F7D3C6}" dt="2017-08-07T19:42:28.995" v="1333" actId="6549"/>
        <pc:sldMkLst>
          <pc:docMk/>
          <pc:sldMk cId="2940960778" sldId="604"/>
        </pc:sldMkLst>
        <pc:spChg chg="mod">
          <ac:chgData name="Michael Bailit" userId="6e5c4604-85bf-41ef-8e97-4724b7d56589" providerId="ADAL" clId="{EDAC1A14-1096-46EC-B990-0E93C6F7D3C6}" dt="2017-08-07T19:42:28.995" v="1333" actId="6549"/>
          <ac:spMkLst>
            <pc:docMk/>
            <pc:sldMk cId="2940960778" sldId="604"/>
            <ac:spMk id="3" creationId="{00000000-0000-0000-0000-000000000000}"/>
          </ac:spMkLst>
        </pc:spChg>
        <pc:spChg chg="mod">
          <ac:chgData name="Michael Bailit" userId="6e5c4604-85bf-41ef-8e97-4724b7d56589" providerId="ADAL" clId="{EDAC1A14-1096-46EC-B990-0E93C6F7D3C6}" dt="2017-08-07T19:42:15.822" v="1329" actId="14100"/>
          <ac:spMkLst>
            <pc:docMk/>
            <pc:sldMk cId="2940960778" sldId="604"/>
            <ac:spMk id="4" creationId="{00000000-0000-0000-0000-000000000000}"/>
          </ac:spMkLst>
        </pc:spChg>
      </pc:sldChg>
      <pc:sldChg chg="modSp">
        <pc:chgData name="Michael Bailit" userId="6e5c4604-85bf-41ef-8e97-4724b7d56589" providerId="ADAL" clId="{EDAC1A14-1096-46EC-B990-0E93C6F7D3C6}" dt="2017-08-07T19:43:32.178" v="1358" actId="1076"/>
        <pc:sldMkLst>
          <pc:docMk/>
          <pc:sldMk cId="3959121679" sldId="605"/>
        </pc:sldMkLst>
        <pc:spChg chg="mod">
          <ac:chgData name="Michael Bailit" userId="6e5c4604-85bf-41ef-8e97-4724b7d56589" providerId="ADAL" clId="{EDAC1A14-1096-46EC-B990-0E93C6F7D3C6}" dt="2017-08-07T19:43:03.382" v="1355" actId="20577"/>
          <ac:spMkLst>
            <pc:docMk/>
            <pc:sldMk cId="3959121679" sldId="605"/>
            <ac:spMk id="3" creationId="{00000000-0000-0000-0000-000000000000}"/>
          </ac:spMkLst>
        </pc:spChg>
        <pc:spChg chg="mod">
          <ac:chgData name="Michael Bailit" userId="6e5c4604-85bf-41ef-8e97-4724b7d56589" providerId="ADAL" clId="{EDAC1A14-1096-46EC-B990-0E93C6F7D3C6}" dt="2017-08-07T19:43:32.178" v="1358" actId="1076"/>
          <ac:spMkLst>
            <pc:docMk/>
            <pc:sldMk cId="3959121679" sldId="605"/>
            <ac:spMk id="4" creationId="{00000000-0000-0000-0000-000000000000}"/>
          </ac:spMkLst>
        </pc:spChg>
      </pc:sldChg>
      <pc:sldChg chg="addSp delSp modSp add modAnim">
        <pc:chgData name="Michael Bailit" userId="6e5c4604-85bf-41ef-8e97-4724b7d56589" providerId="ADAL" clId="{EDAC1A14-1096-46EC-B990-0E93C6F7D3C6}" dt="2017-08-07T19:27:00.718" v="632" actId="1076"/>
        <pc:sldMkLst>
          <pc:docMk/>
          <pc:sldMk cId="521425949" sldId="606"/>
        </pc:sldMkLst>
        <pc:spChg chg="del">
          <ac:chgData name="Michael Bailit" userId="6e5c4604-85bf-41ef-8e97-4724b7d56589" providerId="ADAL" clId="{EDAC1A14-1096-46EC-B990-0E93C6F7D3C6}" dt="2017-08-07T19:17:48.820" v="214" actId="255"/>
          <ac:spMkLst>
            <pc:docMk/>
            <pc:sldMk cId="521425949" sldId="606"/>
            <ac:spMk id="2" creationId="{4C043F09-A8CA-4F39-A920-55F66F0F93DD}"/>
          </ac:spMkLst>
        </pc:spChg>
        <pc:spChg chg="del">
          <ac:chgData name="Michael Bailit" userId="6e5c4604-85bf-41ef-8e97-4724b7d56589" providerId="ADAL" clId="{EDAC1A14-1096-46EC-B990-0E93C6F7D3C6}" dt="2017-08-07T19:17:48.820" v="214" actId="255"/>
          <ac:spMkLst>
            <pc:docMk/>
            <pc:sldMk cId="521425949" sldId="606"/>
            <ac:spMk id="3" creationId="{155C5A90-2E40-42F7-9543-7A9C24D5B516}"/>
          </ac:spMkLst>
        </pc:spChg>
        <pc:spChg chg="del">
          <ac:chgData name="Michael Bailit" userId="6e5c4604-85bf-41ef-8e97-4724b7d56589" providerId="ADAL" clId="{EDAC1A14-1096-46EC-B990-0E93C6F7D3C6}" dt="2017-08-07T19:17:48.820" v="214" actId="255"/>
          <ac:spMkLst>
            <pc:docMk/>
            <pc:sldMk cId="521425949" sldId="606"/>
            <ac:spMk id="4" creationId="{DE824E0D-490D-498F-9ADE-46E55B251C23}"/>
          </ac:spMkLst>
        </pc:spChg>
        <pc:spChg chg="add mod">
          <ac:chgData name="Michael Bailit" userId="6e5c4604-85bf-41ef-8e97-4724b7d56589" providerId="ADAL" clId="{EDAC1A14-1096-46EC-B990-0E93C6F7D3C6}" dt="2017-08-07T19:25:47.953" v="623" actId="255"/>
          <ac:spMkLst>
            <pc:docMk/>
            <pc:sldMk cId="521425949" sldId="606"/>
            <ac:spMk id="5" creationId="{D0269A5D-C25B-49B0-A94D-C269EF110CBA}"/>
          </ac:spMkLst>
        </pc:spChg>
        <pc:spChg chg="add mod">
          <ac:chgData name="Michael Bailit" userId="6e5c4604-85bf-41ef-8e97-4724b7d56589" providerId="ADAL" clId="{EDAC1A14-1096-46EC-B990-0E93C6F7D3C6}" dt="2017-08-07T19:26:10.525" v="627" actId="255"/>
          <ac:spMkLst>
            <pc:docMk/>
            <pc:sldMk cId="521425949" sldId="606"/>
            <ac:spMk id="6" creationId="{00632C9F-7E79-419A-A362-AC549FB1024F}"/>
          </ac:spMkLst>
        </pc:spChg>
      </pc:sldChg>
      <pc:sldChg chg="addSp delSp modSp add">
        <pc:chgData name="Michael Bailit" userId="6e5c4604-85bf-41ef-8e97-4724b7d56589" providerId="ADAL" clId="{EDAC1A14-1096-46EC-B990-0E93C6F7D3C6}" dt="2017-08-07T19:40:23.152" v="1262" actId="20577"/>
        <pc:sldMkLst>
          <pc:docMk/>
          <pc:sldMk cId="3689869915" sldId="607"/>
        </pc:sldMkLst>
        <pc:spChg chg="del">
          <ac:chgData name="Michael Bailit" userId="6e5c4604-85bf-41ef-8e97-4724b7d56589" providerId="ADAL" clId="{EDAC1A14-1096-46EC-B990-0E93C6F7D3C6}" dt="2017-08-07T19:30:24.968" v="683" actId="20577"/>
          <ac:spMkLst>
            <pc:docMk/>
            <pc:sldMk cId="3689869915" sldId="607"/>
            <ac:spMk id="2" creationId="{3DA96A0D-ABB1-4AC8-818F-E384FF0663FA}"/>
          </ac:spMkLst>
        </pc:spChg>
        <pc:spChg chg="del">
          <ac:chgData name="Michael Bailit" userId="6e5c4604-85bf-41ef-8e97-4724b7d56589" providerId="ADAL" clId="{EDAC1A14-1096-46EC-B990-0E93C6F7D3C6}" dt="2017-08-07T19:30:24.968" v="683" actId="20577"/>
          <ac:spMkLst>
            <pc:docMk/>
            <pc:sldMk cId="3689869915" sldId="607"/>
            <ac:spMk id="3" creationId="{50EAACBC-D023-40FB-81F0-C613E10FA4CD}"/>
          </ac:spMkLst>
        </pc:spChg>
        <pc:spChg chg="del">
          <ac:chgData name="Michael Bailit" userId="6e5c4604-85bf-41ef-8e97-4724b7d56589" providerId="ADAL" clId="{EDAC1A14-1096-46EC-B990-0E93C6F7D3C6}" dt="2017-08-07T19:30:24.968" v="683" actId="20577"/>
          <ac:spMkLst>
            <pc:docMk/>
            <pc:sldMk cId="3689869915" sldId="607"/>
            <ac:spMk id="4" creationId="{18EFCE78-DFCF-482C-9EEB-76F1E8C081B9}"/>
          </ac:spMkLst>
        </pc:spChg>
        <pc:spChg chg="add mod">
          <ac:chgData name="Michael Bailit" userId="6e5c4604-85bf-41ef-8e97-4724b7d56589" providerId="ADAL" clId="{EDAC1A14-1096-46EC-B990-0E93C6F7D3C6}" dt="2017-08-07T19:30:35.132" v="703" actId="20577"/>
          <ac:spMkLst>
            <pc:docMk/>
            <pc:sldMk cId="3689869915" sldId="607"/>
            <ac:spMk id="5" creationId="{BCBAAF37-B6DD-47A0-B0BC-7064A10026A7}"/>
          </ac:spMkLst>
        </pc:spChg>
        <pc:spChg chg="add mod">
          <ac:chgData name="Michael Bailit" userId="6e5c4604-85bf-41ef-8e97-4724b7d56589" providerId="ADAL" clId="{EDAC1A14-1096-46EC-B990-0E93C6F7D3C6}" dt="2017-08-07T19:40:23.152" v="1262" actId="20577"/>
          <ac:spMkLst>
            <pc:docMk/>
            <pc:sldMk cId="3689869915" sldId="607"/>
            <ac:spMk id="6" creationId="{C2711F72-906F-442B-B6E4-5D0CE4229743}"/>
          </ac:spMkLst>
        </pc:spChg>
      </pc:sldChg>
    </pc:docChg>
  </pc:docChgLst>
  <pc:docChgLst>
    <pc:chgData name="Michael Bailit" userId="6e5c4604-85bf-41ef-8e97-4724b7d56589" providerId="ADAL" clId="{74AA149D-7BCD-459B-B778-20816A520B8D}"/>
    <pc:docChg chg="modSld">
      <pc:chgData name="Michael Bailit" userId="6e5c4604-85bf-41ef-8e97-4724b7d56589" providerId="ADAL" clId="{74AA149D-7BCD-459B-B778-20816A520B8D}" dt="2017-08-02T21:20:56.834" v="122" actId="6549"/>
      <pc:docMkLst>
        <pc:docMk/>
      </pc:docMkLst>
      <pc:sldChg chg="modSp">
        <pc:chgData name="Michael Bailit" userId="6e5c4604-85bf-41ef-8e97-4724b7d56589" providerId="ADAL" clId="{74AA149D-7BCD-459B-B778-20816A520B8D}" dt="2017-08-02T21:17:37.182" v="33" actId="14100"/>
        <pc:sldMkLst>
          <pc:docMk/>
          <pc:sldMk cId="1672787045" sldId="574"/>
        </pc:sldMkLst>
        <pc:spChg chg="mod">
          <ac:chgData name="Michael Bailit" userId="6e5c4604-85bf-41ef-8e97-4724b7d56589" providerId="ADAL" clId="{74AA149D-7BCD-459B-B778-20816A520B8D}" dt="2017-08-02T21:17:37.182" v="33" actId="14100"/>
          <ac:spMkLst>
            <pc:docMk/>
            <pc:sldMk cId="1672787045" sldId="574"/>
            <ac:spMk id="9" creationId="{00000000-0000-0000-0000-000000000000}"/>
          </ac:spMkLst>
        </pc:spChg>
        <pc:spChg chg="mod">
          <ac:chgData name="Michael Bailit" userId="6e5c4604-85bf-41ef-8e97-4724b7d56589" providerId="ADAL" clId="{74AA149D-7BCD-459B-B778-20816A520B8D}" dt="2017-08-02T21:15:54.879" v="0" actId="20577"/>
          <ac:spMkLst>
            <pc:docMk/>
            <pc:sldMk cId="1672787045" sldId="574"/>
            <ac:spMk id="11" creationId="{00000000-0000-0000-0000-000000000000}"/>
          </ac:spMkLst>
        </pc:spChg>
      </pc:sldChg>
      <pc:sldChg chg="modSp">
        <pc:chgData name="Michael Bailit" userId="6e5c4604-85bf-41ef-8e97-4724b7d56589" providerId="ADAL" clId="{74AA149D-7BCD-459B-B778-20816A520B8D}" dt="2017-08-02T21:20:19.473" v="121" actId="6549"/>
        <pc:sldMkLst>
          <pc:docMk/>
          <pc:sldMk cId="725862020" sldId="581"/>
        </pc:sldMkLst>
        <pc:spChg chg="mod">
          <ac:chgData name="Michael Bailit" userId="6e5c4604-85bf-41ef-8e97-4724b7d56589" providerId="ADAL" clId="{74AA149D-7BCD-459B-B778-20816A520B8D}" dt="2017-08-02T21:20:19.473" v="121" actId="6549"/>
          <ac:spMkLst>
            <pc:docMk/>
            <pc:sldMk cId="725862020" sldId="581"/>
            <ac:spMk id="6" creationId="{00000000-0000-0000-0000-000000000000}"/>
          </ac:spMkLst>
        </pc:spChg>
      </pc:sldChg>
      <pc:sldChg chg="modSp">
        <pc:chgData name="Michael Bailit" userId="6e5c4604-85bf-41ef-8e97-4724b7d56589" providerId="ADAL" clId="{74AA149D-7BCD-459B-B778-20816A520B8D}" dt="2017-08-02T21:19:14.739" v="116" actId="6549"/>
        <pc:sldMkLst>
          <pc:docMk/>
          <pc:sldMk cId="3252426055" sldId="591"/>
        </pc:sldMkLst>
        <pc:spChg chg="mod">
          <ac:chgData name="Michael Bailit" userId="6e5c4604-85bf-41ef-8e97-4724b7d56589" providerId="ADAL" clId="{74AA149D-7BCD-459B-B778-20816A520B8D}" dt="2017-08-02T21:19:14.739" v="116" actId="6549"/>
          <ac:spMkLst>
            <pc:docMk/>
            <pc:sldMk cId="3252426055" sldId="591"/>
            <ac:spMk id="3" creationId="{00000000-0000-0000-0000-000000000000}"/>
          </ac:spMkLst>
        </pc:spChg>
      </pc:sldChg>
      <pc:sldChg chg="modSp">
        <pc:chgData name="Michael Bailit" userId="6e5c4604-85bf-41ef-8e97-4724b7d56589" providerId="ADAL" clId="{74AA149D-7BCD-459B-B778-20816A520B8D}" dt="2017-08-02T21:20:56.834" v="122" actId="6549"/>
        <pc:sldMkLst>
          <pc:docMk/>
          <pc:sldMk cId="874104658" sldId="603"/>
        </pc:sldMkLst>
        <pc:spChg chg="mod">
          <ac:chgData name="Michael Bailit" userId="6e5c4604-85bf-41ef-8e97-4724b7d56589" providerId="ADAL" clId="{74AA149D-7BCD-459B-B778-20816A520B8D}" dt="2017-08-02T21:20:56.834" v="122" actId="6549"/>
          <ac:spMkLst>
            <pc:docMk/>
            <pc:sldMk cId="874104658" sldId="603"/>
            <ac:spMk id="3" creationId="{00000000-0000-0000-0000-00000000000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4B481253-7591-4523-955E-F80A848495CF}" type="datetimeFigureOut">
              <a:rPr lang="en-US" smtClean="0"/>
              <a:t>8/9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9DC8BEB-EE67-441D-A873-0468255F46D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98597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6E87F2B8-DAB1-4BB7-AA03-13CA34FE8FA5}" type="datetimeFigureOut">
              <a:rPr lang="en-US" smtClean="0"/>
              <a:t>8/9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1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9B7833D-D0AA-4DCD-A1FD-49E43A30758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08048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4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5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 sz="2400">
                <a:latin typeface="Book Antiqua" pitchFamily="18" charset="0"/>
                <a:cs typeface="Book Antiqua" pitchFamily="18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7"/>
          <p:cNvSpPr>
            <a:spLocks noGrp="1"/>
          </p:cNvSpPr>
          <p:nvPr>
            <p:ph sz="half" idx="1"/>
          </p:nvPr>
        </p:nvSpPr>
        <p:spPr>
          <a:xfrm>
            <a:off x="533400" y="1844566"/>
            <a:ext cx="8077200" cy="4556234"/>
          </a:xfrm>
          <a:ln w="6350" cmpd="sng"/>
        </p:spPr>
        <p:txBody>
          <a:bodyPr/>
          <a:lstStyle>
            <a:lvl1pPr>
              <a:buClrTx/>
              <a:buSzPct val="100000"/>
              <a:defRPr sz="2000">
                <a:solidFill>
                  <a:schemeClr val="tx1"/>
                </a:solidFill>
                <a:latin typeface="Book Antiqua" pitchFamily="18" charset="0"/>
              </a:defRPr>
            </a:lvl1pPr>
            <a:lvl2pPr>
              <a:buClrTx/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Book Antiqua" pitchFamily="18" charset="0"/>
              </a:defRPr>
            </a:lvl2pPr>
            <a:lvl3pPr>
              <a:buNone/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 rot="16200000">
            <a:off x="-2008187" y="2961790"/>
            <a:ext cx="42545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0" cap="all" baseline="0" dirty="0"/>
              <a:t>Confidential WORKING draft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1223803224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766612535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899691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4390715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7"/>
          <p:cNvSpPr>
            <a:spLocks noGrp="1"/>
          </p:cNvSpPr>
          <p:nvPr>
            <p:ph sz="half" idx="1"/>
          </p:nvPr>
        </p:nvSpPr>
        <p:spPr>
          <a:xfrm>
            <a:off x="533400" y="1939158"/>
            <a:ext cx="8077200" cy="4461641"/>
          </a:xfrm>
        </p:spPr>
        <p:txBody>
          <a:bodyPr/>
          <a:lstStyle>
            <a:lvl1pPr>
              <a:buClrTx/>
              <a:defRPr sz="2400">
                <a:solidFill>
                  <a:schemeClr val="tx1"/>
                </a:solidFill>
              </a:defRPr>
            </a:lvl1pPr>
            <a:lvl2pPr>
              <a:buClrTx/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2pPr>
            <a:lvl3pPr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99886320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1770" y="109538"/>
            <a:ext cx="5549030" cy="762000"/>
          </a:xfrm>
        </p:spPr>
        <p:txBody>
          <a:bodyPr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49027122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4386" y="109538"/>
            <a:ext cx="4837482" cy="762000"/>
          </a:xfrm>
        </p:spPr>
        <p:txBody>
          <a:bodyPr anchor="ctr"/>
          <a:lstStyle>
            <a:lvl1pPr>
              <a:defRPr>
                <a:latin typeface="+mj-lt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4378385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13" y="109538"/>
            <a:ext cx="5564187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85192584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600" y="109538"/>
            <a:ext cx="5664200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219200"/>
            <a:ext cx="81534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853097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30475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525B1E92-C86F-4366-A76D-C560614973E7}" type="slidenum">
              <a:rPr lang="en-US"/>
              <a:pPr fontAlgn="base"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5755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61258114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2525992C-A338-4683-875D-D1E6AB4EA333}" type="datetime1">
              <a:rPr lang="en-US" sz="1600">
                <a:solidFill>
                  <a:srgbClr val="000000"/>
                </a:solidFill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8/9/2017</a:t>
            </a:fld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7700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 sz="1100" b="0" i="1" dirty="0">
                <a:latin typeface="Arial" charset="0"/>
              </a:defRPr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rgbClr val="000000"/>
                </a:solidFill>
              </a:rPr>
              <a:t>For Policy Development Purposes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858000" y="6492875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lang="en-US" sz="1100" b="0" i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D3F2EBBE-6BF9-4752-811B-D6BF294D1B9C}" type="slidenum">
              <a:rPr>
                <a:solidFill>
                  <a:srgbClr val="000000"/>
                </a:solidFill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73035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56760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0966557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722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65300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155063029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7"/>
          <p:cNvSpPr>
            <a:spLocks noGrp="1"/>
          </p:cNvSpPr>
          <p:nvPr>
            <p:ph sz="half" idx="1"/>
          </p:nvPr>
        </p:nvSpPr>
        <p:spPr>
          <a:xfrm>
            <a:off x="533400" y="1939158"/>
            <a:ext cx="8077200" cy="4461641"/>
          </a:xfrm>
        </p:spPr>
        <p:txBody>
          <a:bodyPr/>
          <a:lstStyle>
            <a:lvl1pPr>
              <a:buClrTx/>
              <a:defRPr sz="2400">
                <a:solidFill>
                  <a:schemeClr val="tx1"/>
                </a:solidFill>
              </a:defRPr>
            </a:lvl1pPr>
            <a:lvl2pPr>
              <a:buClrTx/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2pPr>
            <a:lvl3pPr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34863005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1770" y="109538"/>
            <a:ext cx="5549030" cy="762000"/>
          </a:xfrm>
        </p:spPr>
        <p:txBody>
          <a:bodyPr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737095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4386" y="109538"/>
            <a:ext cx="4837482" cy="762000"/>
          </a:xfrm>
        </p:spPr>
        <p:txBody>
          <a:bodyPr anchor="ctr"/>
          <a:lstStyle>
            <a:lvl1pPr>
              <a:defRPr>
                <a:latin typeface="+mj-lt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2060510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13" y="109538"/>
            <a:ext cx="5564187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56225408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600" y="109538"/>
            <a:ext cx="5664200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219200"/>
            <a:ext cx="81534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4972494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173537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510846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525B1E92-C86F-4366-A76D-C560614973E7}" type="slidenum">
              <a:rPr lang="en-US"/>
              <a:pPr fontAlgn="base"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514308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7"/>
          <p:cNvSpPr>
            <a:spLocks noGrp="1"/>
          </p:cNvSpPr>
          <p:nvPr>
            <p:ph sz="half" idx="1"/>
          </p:nvPr>
        </p:nvSpPr>
        <p:spPr>
          <a:xfrm>
            <a:off x="533400" y="1939158"/>
            <a:ext cx="8077200" cy="4461641"/>
          </a:xfrm>
        </p:spPr>
        <p:txBody>
          <a:bodyPr/>
          <a:lstStyle>
            <a:lvl1pPr>
              <a:buClrTx/>
              <a:defRPr sz="2400">
                <a:solidFill>
                  <a:schemeClr val="tx1"/>
                </a:solidFill>
              </a:defRPr>
            </a:lvl1pPr>
            <a:lvl2pPr>
              <a:buClrTx/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2pPr>
            <a:lvl3pPr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82537785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1770" y="109538"/>
            <a:ext cx="5549030" cy="762000"/>
          </a:xfrm>
        </p:spPr>
        <p:txBody>
          <a:bodyPr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8925639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4386" y="109538"/>
            <a:ext cx="4837482" cy="762000"/>
          </a:xfrm>
        </p:spPr>
        <p:txBody>
          <a:bodyPr anchor="ctr"/>
          <a:lstStyle>
            <a:lvl1pPr>
              <a:defRPr>
                <a:latin typeface="+mj-lt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46905148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13" y="109538"/>
            <a:ext cx="5564187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26432510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600" y="109538"/>
            <a:ext cx="5664200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219200"/>
            <a:ext cx="81534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0463995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635897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525B1E92-C86F-4366-A76D-C560614973E7}" type="slidenum">
              <a:rPr lang="en-US"/>
              <a:pPr fontAlgn="base"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931107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7"/>
          <p:cNvSpPr>
            <a:spLocks noGrp="1"/>
          </p:cNvSpPr>
          <p:nvPr>
            <p:ph sz="half" idx="1"/>
          </p:nvPr>
        </p:nvSpPr>
        <p:spPr>
          <a:xfrm>
            <a:off x="533400" y="1939158"/>
            <a:ext cx="8077200" cy="4461641"/>
          </a:xfrm>
        </p:spPr>
        <p:txBody>
          <a:bodyPr/>
          <a:lstStyle>
            <a:lvl1pPr>
              <a:buClrTx/>
              <a:defRPr sz="2400">
                <a:solidFill>
                  <a:schemeClr val="tx1"/>
                </a:solidFill>
              </a:defRPr>
            </a:lvl1pPr>
            <a:lvl2pPr>
              <a:buClrTx/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2pPr>
            <a:lvl3pPr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13361432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1770" y="109538"/>
            <a:ext cx="5549030" cy="762000"/>
          </a:xfrm>
        </p:spPr>
        <p:txBody>
          <a:bodyPr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72698809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13" y="109538"/>
            <a:ext cx="5564187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4370112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4386" y="109538"/>
            <a:ext cx="4837482" cy="762000"/>
          </a:xfrm>
        </p:spPr>
        <p:txBody>
          <a:bodyPr anchor="ctr"/>
          <a:lstStyle>
            <a:lvl1pPr>
              <a:defRPr>
                <a:latin typeface="+mj-lt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19193756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13" y="109538"/>
            <a:ext cx="5564187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30631296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600" y="109538"/>
            <a:ext cx="5664200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219200"/>
            <a:ext cx="81534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3872870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626867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525B1E92-C86F-4366-A76D-C560614973E7}" type="slidenum">
              <a:rPr lang="en-US"/>
              <a:pPr fontAlgn="base"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509970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3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64370736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9539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072494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00002" name="Picture 2" descr="Picture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8" y="-6350"/>
            <a:ext cx="918845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00003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267201" y="3124200"/>
            <a:ext cx="4667250" cy="1568257"/>
          </a:xfrm>
        </p:spPr>
        <p:txBody>
          <a:bodyPr lIns="91430" tIns="45716" rIns="91430" bIns="45716"/>
          <a:lstStyle>
            <a:lvl1pPr marL="0" indent="0" algn="r">
              <a:defRPr sz="2800">
                <a:solidFill>
                  <a:srgbClr val="003366"/>
                </a:solidFill>
              </a:defRPr>
            </a:lvl1pPr>
            <a:lvl2pPr lvl="1" algn="r">
              <a:defRPr sz="2000">
                <a:solidFill>
                  <a:schemeClr val="tx2"/>
                </a:solidFill>
              </a:defRPr>
            </a:lvl2pPr>
            <a:lvl3pPr lvl="2" algn="r">
              <a:defRPr sz="2000">
                <a:solidFill>
                  <a:schemeClr val="tx2"/>
                </a:solidFill>
              </a:defRPr>
            </a:lvl3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3200006" name="Rectangle 6"/>
          <p:cNvSpPr>
            <a:spLocks noChangeArrowheads="1"/>
          </p:cNvSpPr>
          <p:nvPr userDrawn="1"/>
        </p:nvSpPr>
        <p:spPr bwMode="white">
          <a:xfrm>
            <a:off x="152400" y="1143000"/>
            <a:ext cx="4495800" cy="20574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 anchor="b"/>
          <a:lstStyle/>
          <a:p>
            <a:pPr eaLnBrk="0" fontAlgn="base" hangingPunct="0">
              <a:spcBef>
                <a:spcPct val="20000"/>
              </a:spcBef>
              <a:spcAft>
                <a:spcPct val="0"/>
              </a:spcAft>
              <a:tabLst>
                <a:tab pos="915891" algn="l"/>
              </a:tabLst>
            </a:pPr>
            <a:r>
              <a:rPr lang="en-US" altLang="en-US" sz="2800" b="1" dirty="0">
                <a:solidFill>
                  <a:srgbClr val="F8F8F8"/>
                </a:solidFill>
              </a:rPr>
              <a:t>Commonwealth of Massachusetts</a:t>
            </a:r>
            <a:br>
              <a:rPr lang="en-US" altLang="en-US" sz="2800" b="1" dirty="0">
                <a:solidFill>
                  <a:srgbClr val="F8F8F8"/>
                </a:solidFill>
              </a:rPr>
            </a:br>
            <a:r>
              <a:rPr lang="en-US" altLang="en-US" sz="1900" b="1" dirty="0">
                <a:solidFill>
                  <a:srgbClr val="F8F8F8"/>
                </a:solidFill>
              </a:rPr>
              <a:t>Executive Office of Health and Human Services</a:t>
            </a:r>
            <a:br>
              <a:rPr lang="en-US" altLang="en-US" sz="1900" b="1" dirty="0">
                <a:solidFill>
                  <a:srgbClr val="F8F8F8"/>
                </a:solidFill>
              </a:rPr>
            </a:br>
            <a:br>
              <a:rPr lang="en-US" altLang="en-US" sz="1900" b="1" dirty="0">
                <a:solidFill>
                  <a:srgbClr val="F8F8F8"/>
                </a:solidFill>
              </a:rPr>
            </a:br>
            <a:endParaRPr lang="en-US" sz="2800" b="1" dirty="0">
              <a:solidFill>
                <a:srgbClr val="F8F8F8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89955" y="457200"/>
            <a:ext cx="1934480" cy="193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229871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533400" y="1371600"/>
            <a:ext cx="7851648" cy="1828800"/>
          </a:xfrm>
          <a:ln>
            <a:noFill/>
          </a:ln>
        </p:spPr>
        <p:txBody>
          <a:bodyPr vert="horz" tIns="0" rIns="18288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  <a:contourClr>
                <a:schemeClr val="tx2"/>
              </a:contourClr>
            </a:sp3d>
          </a:bodyPr>
          <a:lstStyle>
            <a:lvl1pPr algn="r" rtl="0">
              <a:spcBef>
                <a:spcPct val="0"/>
              </a:spcBef>
              <a:buNone/>
              <a:defRPr sz="5600" b="1">
                <a:ln>
                  <a:noFill/>
                </a:ln>
                <a:solidFill>
                  <a:schemeClr val="accent3">
                    <a:tint val="90000"/>
                    <a:satMod val="120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/>
              <a:t>Click to edit Master title style</a:t>
            </a:r>
            <a:endParaRPr kumimoji="0" lang="en-US" dirty="0"/>
          </a:p>
        </p:txBody>
      </p:sp>
      <p:sp>
        <p:nvSpPr>
          <p:cNvPr id="17" name="Subtitle 16"/>
          <p:cNvSpPr>
            <a:spLocks noGrp="1"/>
          </p:cNvSpPr>
          <p:nvPr>
            <p:ph type="subTitle" idx="1" hasCustomPrompt="1"/>
          </p:nvPr>
        </p:nvSpPr>
        <p:spPr>
          <a:xfrm>
            <a:off x="533400" y="3228536"/>
            <a:ext cx="7854696" cy="1752600"/>
          </a:xfrm>
        </p:spPr>
        <p:txBody>
          <a:bodyPr lIns="0" rIns="18288"/>
          <a:lstStyle>
            <a:lvl1pPr marL="0" marR="4572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n-US" dirty="0"/>
              <a:t>May 19, 2016</a:t>
            </a:r>
          </a:p>
          <a:p>
            <a:r>
              <a:rPr kumimoji="0" lang="en-US" dirty="0"/>
              <a:t>Revised June 25, 2016</a:t>
            </a:r>
          </a:p>
        </p:txBody>
      </p:sp>
      <p:sp>
        <p:nvSpPr>
          <p:cNvPr id="30" name="Date Placeholder 2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8/9/2017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>
              <a:solidFill>
                <a:schemeClr val="accent1">
                  <a:tint val="20000"/>
                </a:schemeClr>
              </a:solidFill>
            </a:endParaRPr>
          </a:p>
        </p:txBody>
      </p:sp>
      <p:sp>
        <p:nvSpPr>
          <p:cNvPr id="27" name="Slide Number Placeholder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>
              <a:solidFill>
                <a:srgbClr val="FFFFFF"/>
              </a:solidFill>
            </a:endParaRP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8/9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AEDD70FA-59E1-4157-923E-C4A67B08AD84}" type="slidenum">
              <a:rPr lang="en-US"/>
              <a:pPr fontAlgn="base"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810872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1316736"/>
            <a:ext cx="7772400" cy="1362456"/>
          </a:xfrm>
          <a:ln>
            <a:noFill/>
          </a:ln>
        </p:spPr>
        <p:txBody>
          <a:bodyPr vert="horz" tIns="0" bIns="0" anchor="b">
            <a:no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</a:sp3d>
          </a:bodyPr>
          <a:lstStyle>
            <a:lvl1pPr algn="l" rtl="0">
              <a:spcBef>
                <a:spcPct val="0"/>
              </a:spcBef>
              <a:buNone/>
              <a:defRPr lang="en-US" sz="5600" b="1" cap="none" baseline="0" dirty="0">
                <a:ln w="635">
                  <a:noFill/>
                </a:ln>
                <a:solidFill>
                  <a:schemeClr val="accent4">
                    <a:tint val="90000"/>
                    <a:satMod val="125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0352" y="2704664"/>
            <a:ext cx="7772400" cy="1509712"/>
          </a:xfrm>
        </p:spPr>
        <p:txBody>
          <a:bodyPr lIns="45720" rIns="45720" anchor="t"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8/9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1143000"/>
          </a:xfrm>
        </p:spPr>
        <p:txBody>
          <a:bodyPr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920085"/>
            <a:ext cx="4038600" cy="443484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20085"/>
            <a:ext cx="4038600" cy="443484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8/9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1143000"/>
          </a:xfrm>
        </p:spPr>
        <p:txBody>
          <a:bodyPr tIns="45720" anchor="b"/>
          <a:lstStyle>
            <a:lvl1pPr>
              <a:defRPr/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855248"/>
            <a:ext cx="4040188" cy="659352"/>
          </a:xfrm>
        </p:spPr>
        <p:txBody>
          <a:bodyPr lIns="45720" tIns="0" rIns="45720" bIns="0" anchor="ctr">
            <a:noAutofit/>
          </a:bodyPr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45025" y="1859757"/>
            <a:ext cx="4041775" cy="654843"/>
          </a:xfrm>
        </p:spPr>
        <p:txBody>
          <a:bodyPr lIns="45720" tIns="0" rIns="45720" bIns="0" anchor="ctr"/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2514600"/>
            <a:ext cx="4040188" cy="3845720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514600"/>
            <a:ext cx="4041775" cy="3845720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8/9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/>
          </a:p>
        </p:txBody>
      </p:sp>
    </p:spTree>
  </p:cSld>
  <p:clrMapOvr>
    <a:masterClrMapping/>
  </p:clrMapOvr>
  <p:hf hdr="0" ft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305800" cy="1143000"/>
          </a:xfrm>
        </p:spPr>
        <p:txBody>
          <a:bodyPr vert="horz" tIns="45720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contourClr>
                <a:schemeClr val="tx2"/>
              </a:contourClr>
            </a:sp3d>
          </a:bodyPr>
          <a:lstStyle>
            <a:lvl1pPr algn="l" rtl="0">
              <a:spcBef>
                <a:spcPct val="0"/>
              </a:spcBef>
              <a:buNone/>
              <a:defRPr sz="50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8/9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8/9/2017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514352"/>
            <a:ext cx="2743200" cy="1162050"/>
          </a:xfrm>
        </p:spPr>
        <p:txBody>
          <a:bodyPr lIns="0" anchor="b">
            <a:noAutofit/>
          </a:bodyPr>
          <a:lstStyle>
            <a:lvl1pPr algn="l" rtl="0">
              <a:spcBef>
                <a:spcPct val="0"/>
              </a:spcBef>
              <a:buNone/>
              <a:defRPr sz="26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685800" y="1676400"/>
            <a:ext cx="2743200" cy="4572000"/>
          </a:xfrm>
        </p:spPr>
        <p:txBody>
          <a:bodyPr lIns="18288" rIns="18288"/>
          <a:lstStyle>
            <a:lvl1pPr marL="0" indent="0" algn="l">
              <a:buNone/>
              <a:defRPr sz="1400"/>
            </a:lvl1pPr>
            <a:lvl2pPr indent="0" algn="l">
              <a:buNone/>
              <a:defRPr sz="1200"/>
            </a:lvl2pPr>
            <a:lvl3pPr indent="0" algn="l">
              <a:buNone/>
              <a:defRPr sz="1000"/>
            </a:lvl3pPr>
            <a:lvl4pPr indent="0" algn="l">
              <a:buNone/>
              <a:defRPr sz="900"/>
            </a:lvl4pPr>
            <a:lvl5pPr indent="0" algn="l">
              <a:buNone/>
              <a:defRPr sz="900"/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3575050" y="1676400"/>
            <a:ext cx="5111750" cy="4572000"/>
          </a:xfrm>
        </p:spPr>
        <p:txBody>
          <a:bodyPr tIns="0"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8/9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/>
          </a:p>
        </p:txBody>
      </p:sp>
    </p:spTree>
  </p:cSld>
  <p:clrMapOvr>
    <a:masterClrMapping/>
  </p:clrMapOvr>
  <p:hf hdr="0" ft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nip and Round Single Corner Rectangle 8"/>
          <p:cNvSpPr/>
          <p:nvPr/>
        </p:nvSpPr>
        <p:spPr>
          <a:xfrm rot="420000" flipV="1">
            <a:off x="3165753" y="1108077"/>
            <a:ext cx="5257800" cy="4114800"/>
          </a:xfrm>
          <a:prstGeom prst="snipRoundRect">
            <a:avLst>
              <a:gd name="adj1" fmla="val 0"/>
              <a:gd name="adj2" fmla="val 3646"/>
            </a:avLst>
          </a:prstGeom>
          <a:solidFill>
            <a:srgbClr val="FFFFFF"/>
          </a:solidFill>
          <a:ln w="3175" cap="rnd" cmpd="sng" algn="ctr">
            <a:solidFill>
              <a:srgbClr val="C0C0C0"/>
            </a:solidFill>
            <a:prstDash val="solid"/>
          </a:ln>
          <a:effectLst>
            <a:outerShdw blurRad="63500" dist="38500" dir="7500000" sx="98500" sy="100080" kx="100000" algn="tl" rotWithShape="0">
              <a:srgbClr val="000000">
                <a:alpha val="25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12" name="Right Triangle 11"/>
          <p:cNvSpPr/>
          <p:nvPr/>
        </p:nvSpPr>
        <p:spPr>
          <a:xfrm rot="420000" flipV="1">
            <a:off x="8004134" y="5359769"/>
            <a:ext cx="155448" cy="155448"/>
          </a:xfrm>
          <a:prstGeom prst="rtTriangle">
            <a:avLst/>
          </a:prstGeom>
          <a:solidFill>
            <a:srgbClr val="FFFFFF"/>
          </a:solidFill>
          <a:ln w="12700" cap="flat" cmpd="sng" algn="ctr">
            <a:solidFill>
              <a:srgbClr val="FFFFFF"/>
            </a:solidFill>
            <a:prstDash val="solid"/>
            <a:bevel/>
          </a:ln>
          <a:effectLst>
            <a:outerShdw blurRad="19685" dist="6350" dir="12900000" algn="tl" rotWithShape="0">
              <a:srgbClr val="000000">
                <a:alpha val="47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176996"/>
            <a:ext cx="2212848" cy="1582621"/>
          </a:xfrm>
        </p:spPr>
        <p:txBody>
          <a:bodyPr vert="horz" lIns="45720" tIns="45720" rIns="45720" bIns="45720" anchor="b"/>
          <a:lstStyle>
            <a:lvl1pPr algn="l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2828785"/>
            <a:ext cx="2209800" cy="2179320"/>
          </a:xfrm>
        </p:spPr>
        <p:txBody>
          <a:bodyPr lIns="64008" rIns="45720" bIns="45720" anchor="t"/>
          <a:lstStyle>
            <a:lvl1pPr marL="0" indent="0" algn="l">
              <a:spcBef>
                <a:spcPts val="250"/>
              </a:spcBef>
              <a:buFontTx/>
              <a:buNone/>
              <a:defRPr sz="13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8/9/2017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>
              <a:solidFill>
                <a:schemeClr val="tx1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077200" y="6356350"/>
            <a:ext cx="609600" cy="365125"/>
          </a:xfrm>
        </p:spPr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>
              <a:solidFill>
                <a:schemeClr val="tx1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 rot="420000">
            <a:off x="3485793" y="1199517"/>
            <a:ext cx="4617720" cy="3931920"/>
          </a:xfrm>
          <a:prstGeom prst="rect">
            <a:avLst/>
          </a:prstGeom>
          <a:solidFill>
            <a:schemeClr val="bg2"/>
          </a:solidFill>
          <a:ln w="3000" cap="rnd">
            <a:solidFill>
              <a:srgbClr val="C0C0C0"/>
            </a:solidFill>
            <a:round/>
          </a:ln>
          <a:effectLst/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en-US" dirty="0"/>
              <a:t>Click icon to add picture</a:t>
            </a:r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 flipV="1">
            <a:off x="-9525" y="5816600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Freeform 10"/>
          <p:cNvSpPr>
            <a:spLocks/>
          </p:cNvSpPr>
          <p:nvPr/>
        </p:nvSpPr>
        <p:spPr bwMode="auto">
          <a:xfrm flipV="1">
            <a:off x="4381500" y="6219825"/>
            <a:ext cx="47625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ft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8/9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/>
          </a:p>
        </p:txBody>
      </p:sp>
    </p:spTree>
  </p:cSld>
  <p:clrMapOvr>
    <a:masterClrMapping/>
  </p:clrMapOvr>
  <p:hf hdr="0" ft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914401"/>
            <a:ext cx="2057400" cy="5211763"/>
          </a:xfrm>
        </p:spPr>
        <p:txBody>
          <a:bodyPr vert="eaVert"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914401"/>
            <a:ext cx="6019800" cy="5211763"/>
          </a:xfrm>
        </p:spPr>
        <p:txBody>
          <a:bodyPr vert="eaVert"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8/9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/>
          </a:p>
        </p:txBody>
      </p:sp>
    </p:spTree>
  </p:cSld>
  <p:clrMapOvr>
    <a:masterClrMapping/>
  </p:clrMapOvr>
  <p:hf hdr="0" ft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3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6437073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3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64370736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9539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072494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8252810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" name="Straight Connector 1"/>
          <p:cNvCxnSpPr/>
          <p:nvPr userDrawn="1"/>
        </p:nvCxnSpPr>
        <p:spPr>
          <a:xfrm flipH="1">
            <a:off x="304800" y="1447800"/>
            <a:ext cx="8585042" cy="0"/>
          </a:xfrm>
          <a:prstGeom prst="line">
            <a:avLst/>
          </a:prstGeom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 userDrawn="1"/>
        </p:nvSpPr>
        <p:spPr>
          <a:xfrm>
            <a:off x="304804" y="228600"/>
            <a:ext cx="8595188" cy="1200329"/>
          </a:xfrm>
          <a:prstGeom prst="rect">
            <a:avLst/>
          </a:prstGeom>
          <a:noFill/>
        </p:spPr>
        <p:txBody>
          <a:bodyPr wrap="square" lIns="91402" tIns="45701" rIns="91402" bIns="45701" rtlCol="0">
            <a:spAutoFit/>
          </a:bodyPr>
          <a:lstStyle/>
          <a:p>
            <a:pPr algn="ctr" defTabSz="914012"/>
            <a:r>
              <a:rPr lang="en-US" sz="2800" cap="small" dirty="0">
                <a:solidFill>
                  <a:srgbClr val="0C2D83"/>
                </a:solidFill>
                <a:latin typeface="Garamond" pitchFamily="18" charset="0"/>
              </a:rPr>
              <a:t>Commonwealth of Massachusetts</a:t>
            </a:r>
          </a:p>
          <a:p>
            <a:pPr algn="ctr" defTabSz="914012"/>
            <a:r>
              <a:rPr lang="en-US" sz="4400" cap="small" dirty="0">
                <a:solidFill>
                  <a:srgbClr val="0C2D83"/>
                </a:solidFill>
                <a:latin typeface="Garamond" pitchFamily="18" charset="0"/>
              </a:rPr>
              <a:t>Health Policy Commiss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2895602"/>
            <a:ext cx="7543800" cy="1066800"/>
          </a:xfrm>
          <a:prstGeom prst="rect">
            <a:avLst/>
          </a:prstGeom>
        </p:spPr>
        <p:txBody>
          <a:bodyPr lIns="91402" tIns="45701" rIns="91402" bIns="45701" anchor="ctr"/>
          <a:lstStyle>
            <a:lvl1pPr marL="0" indent="0" algn="ctr">
              <a:buNone/>
              <a:defRPr sz="4400" b="0">
                <a:solidFill>
                  <a:schemeClr val="tx2"/>
                </a:solidFill>
                <a:latin typeface="Garamond" panose="02020404030301010803" pitchFamily="18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590800" y="4876800"/>
            <a:ext cx="4114800" cy="304800"/>
          </a:xfrm>
          <a:prstGeom prst="rect">
            <a:avLst/>
          </a:prstGeom>
        </p:spPr>
        <p:txBody>
          <a:bodyPr lIns="91402" tIns="45701" rIns="91402" bIns="45701"/>
          <a:lstStyle>
            <a:lvl1pPr marL="0" indent="0" algn="ctr">
              <a:buNone/>
              <a:defRPr sz="1800">
                <a:solidFill>
                  <a:schemeClr val="tx2"/>
                </a:solidFill>
                <a:latin typeface="Garamond" panose="02020404030301010803" pitchFamily="18" charset="0"/>
              </a:defRPr>
            </a:lvl1pPr>
          </a:lstStyle>
          <a:p>
            <a:pPr lvl="0"/>
            <a:r>
              <a:rPr lang="en-US" dirty="0"/>
              <a:t>Date here</a:t>
            </a: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0" y="6251900"/>
            <a:ext cx="9144000" cy="197485"/>
          </a:xfrm>
          <a:prstGeom prst="rect">
            <a:avLst/>
          </a:prstGeom>
          <a:solidFill>
            <a:srgbClr val="DDA037"/>
          </a:solidFill>
          <a:ln w="12700" algn="in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50" tIns="36550" rIns="36550" bIns="36550" anchor="t" anchorCtr="0" upright="1">
            <a:noAutofit/>
          </a:bodyPr>
          <a:lstStyle/>
          <a:p>
            <a:pPr defTabSz="914109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0" y="6543405"/>
            <a:ext cx="9144000" cy="314598"/>
          </a:xfrm>
          <a:prstGeom prst="rect">
            <a:avLst/>
          </a:prstGeom>
          <a:solidFill>
            <a:srgbClr val="0C2D83"/>
          </a:solidFill>
          <a:ln w="12700" algn="in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EDEDE"/>
                  </a:outerShdw>
                </a:effectLst>
              </a14:hiddenEffects>
            </a:ext>
          </a:extLst>
        </p:spPr>
        <p:txBody>
          <a:bodyPr rot="0" vert="horz" wrap="square" lIns="36550" tIns="36550" rIns="36550" bIns="36550" anchor="t" anchorCtr="0" upright="1">
            <a:noAutofit/>
          </a:bodyPr>
          <a:lstStyle/>
          <a:p>
            <a:pPr defTabSz="914109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1" name="Picture 10"/>
          <p:cNvPicPr/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2446" y="6278293"/>
            <a:ext cx="539115" cy="530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709287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ra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564739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90600" y="838199"/>
            <a:ext cx="7239000" cy="685801"/>
          </a:xfrm>
          <a:prstGeom prst="rect">
            <a:avLst/>
          </a:prstGeom>
        </p:spPr>
        <p:txBody>
          <a:bodyPr lIns="91420" tIns="45711" rIns="91420" bIns="45711"/>
          <a:lstStyle>
            <a:lvl1pPr marL="0" indent="0" algn="ctr">
              <a:buNone/>
              <a:defRPr b="1">
                <a:solidFill>
                  <a:schemeClr val="tx2"/>
                </a:solidFill>
                <a:latin typeface="Garamond" panose="02020404030301010803" pitchFamily="18" charset="0"/>
              </a:defRPr>
            </a:lvl1pPr>
            <a:lvl2pPr marL="457104" indent="-457104" algn="l"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Garamond" panose="02020404030301010803" pitchFamily="18" charset="0"/>
              </a:defRPr>
            </a:lvl2pPr>
            <a:lvl3pPr marL="914109" indent="0" algn="ctr">
              <a:buNone/>
              <a:defRPr>
                <a:solidFill>
                  <a:schemeClr val="tx2"/>
                </a:solidFill>
                <a:latin typeface="Garamond" panose="02020404030301010803" pitchFamily="18" charset="0"/>
              </a:defRPr>
            </a:lvl3pPr>
            <a:lvl4pPr marL="1371164" indent="0" algn="ctr">
              <a:buNone/>
              <a:defRPr>
                <a:solidFill>
                  <a:schemeClr val="tx2"/>
                </a:solidFill>
                <a:latin typeface="Garamond" panose="02020404030301010803" pitchFamily="18" charset="0"/>
              </a:defRPr>
            </a:lvl4pPr>
            <a:lvl5pPr marL="1828218" indent="0" algn="ctr">
              <a:buNone/>
              <a:defRPr>
                <a:solidFill>
                  <a:schemeClr val="tx2"/>
                </a:solidFill>
                <a:latin typeface="Garamond" panose="02020404030301010803" pitchFamily="18" charset="0"/>
              </a:defRPr>
            </a:lvl5pPr>
          </a:lstStyle>
          <a:p>
            <a:pPr lvl="0"/>
            <a:r>
              <a:rPr lang="en-US" dirty="0"/>
              <a:t>Insert Agenda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905000" y="2057400"/>
            <a:ext cx="5410200" cy="3352800"/>
          </a:xfrm>
          <a:prstGeom prst="rect">
            <a:avLst/>
          </a:prstGeom>
        </p:spPr>
        <p:txBody>
          <a:bodyPr lIns="91420" tIns="45711" rIns="91420" bIns="45711" anchor="ctr"/>
          <a:lstStyle>
            <a:lvl1pPr marL="284103" indent="-284103">
              <a:spcAft>
                <a:spcPts val="600"/>
              </a:spcAft>
              <a:buFont typeface="Wingdings" panose="05000000000000000000" pitchFamily="2" charset="2"/>
              <a:buChar char="§"/>
              <a:defRPr sz="2400">
                <a:solidFill>
                  <a:schemeClr val="tx2"/>
                </a:solidFill>
                <a:latin typeface="Garamond" panose="02020404030301010803" pitchFamily="18" charset="0"/>
              </a:defRPr>
            </a:lvl1pPr>
            <a:lvl2pPr>
              <a:spcAft>
                <a:spcPts val="600"/>
              </a:spcAft>
              <a:defRPr sz="2000">
                <a:solidFill>
                  <a:schemeClr val="tx2"/>
                </a:solidFill>
                <a:latin typeface="Garamond" panose="02020404030301010803" pitchFamily="18" charset="0"/>
              </a:defRPr>
            </a:lvl2pPr>
            <a:lvl3pPr>
              <a:spcAft>
                <a:spcPts val="600"/>
              </a:spcAft>
              <a:defRPr sz="1800">
                <a:solidFill>
                  <a:schemeClr val="tx2"/>
                </a:solidFill>
                <a:latin typeface="Garamond" panose="02020404030301010803" pitchFamily="18" charset="0"/>
              </a:defRPr>
            </a:lvl3pPr>
            <a:lvl4pPr>
              <a:spcAft>
                <a:spcPts val="600"/>
              </a:spcAft>
              <a:defRPr sz="1600">
                <a:solidFill>
                  <a:schemeClr val="tx2"/>
                </a:solidFill>
                <a:latin typeface="Garamond" panose="02020404030301010803" pitchFamily="18" charset="0"/>
              </a:defRPr>
            </a:lvl4pPr>
            <a:lvl5pPr>
              <a:spcAft>
                <a:spcPts val="600"/>
              </a:spcAft>
              <a:defRPr sz="1600">
                <a:solidFill>
                  <a:schemeClr val="tx2"/>
                </a:solidFill>
                <a:latin typeface="Garamond" panose="02020404030301010803" pitchFamily="18" charset="0"/>
              </a:defRPr>
            </a:lvl5pPr>
          </a:lstStyle>
          <a:p>
            <a:pPr lvl="0"/>
            <a:r>
              <a:rPr lang="en-US" dirty="0"/>
              <a:t>Write agenda items, and move light blue box to indicate active agenda item (bold active agenda item if desired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0" y="6251900"/>
            <a:ext cx="9144000" cy="197485"/>
          </a:xfrm>
          <a:prstGeom prst="rect">
            <a:avLst/>
          </a:prstGeom>
          <a:solidFill>
            <a:srgbClr val="DDA037"/>
          </a:solidFill>
          <a:ln w="12700" algn="in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50" tIns="36550" rIns="36550" bIns="36550" anchor="t" anchorCtr="0" upright="1">
            <a:noAutofit/>
          </a:bodyPr>
          <a:lstStyle/>
          <a:p>
            <a:pPr defTabSz="914109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0" y="6543405"/>
            <a:ext cx="9144000" cy="314598"/>
          </a:xfrm>
          <a:prstGeom prst="rect">
            <a:avLst/>
          </a:prstGeom>
          <a:solidFill>
            <a:srgbClr val="0C2D83"/>
          </a:solidFill>
          <a:ln w="12700" algn="in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EDEDE"/>
                  </a:outerShdw>
                </a:effectLst>
              </a14:hiddenEffects>
            </a:ext>
          </a:extLst>
        </p:spPr>
        <p:txBody>
          <a:bodyPr rot="0" vert="horz" wrap="square" lIns="36550" tIns="36550" rIns="36550" bIns="36550" anchor="t" anchorCtr="0" upright="1">
            <a:noAutofit/>
          </a:bodyPr>
          <a:lstStyle/>
          <a:p>
            <a:pPr defTabSz="914109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0" name="Picture 9"/>
          <p:cNvPicPr/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2446" y="6278293"/>
            <a:ext cx="539115" cy="530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411750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7340654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5999"/>
            <a:ext cx="7162800" cy="685801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1"/>
            <a:ext cx="8229600" cy="685801"/>
          </a:xfrm>
          <a:prstGeom prst="rect">
            <a:avLst/>
          </a:prstGeom>
        </p:spPr>
        <p:txBody>
          <a:bodyPr lIns="91382" tIns="45691" rIns="91382" bIns="4569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2"/>
            <a:ext cx="8229600" cy="533400"/>
          </a:xfrm>
          <a:prstGeom prst="rect">
            <a:avLst/>
          </a:prstGeom>
        </p:spPr>
        <p:txBody>
          <a:bodyPr lIns="91420" tIns="45711" rIns="91420" bIns="45711"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6910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15128675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3637440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5999"/>
            <a:ext cx="7162800" cy="685801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1"/>
            <a:ext cx="8229600" cy="685801"/>
          </a:xfrm>
          <a:prstGeom prst="rect">
            <a:avLst/>
          </a:prstGeom>
        </p:spPr>
        <p:txBody>
          <a:bodyPr lIns="91382" tIns="45691" rIns="91382" bIns="4569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20" tIns="182841" rIns="91420" bIns="182841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045295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4832035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" name="Straight Connector 1"/>
          <p:cNvCxnSpPr/>
          <p:nvPr userDrawn="1"/>
        </p:nvCxnSpPr>
        <p:spPr>
          <a:xfrm flipH="1">
            <a:off x="304800" y="1447800"/>
            <a:ext cx="8585042" cy="0"/>
          </a:xfrm>
          <a:prstGeom prst="line">
            <a:avLst/>
          </a:prstGeom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 userDrawn="1"/>
        </p:nvSpPr>
        <p:spPr>
          <a:xfrm>
            <a:off x="304804" y="228600"/>
            <a:ext cx="8595188" cy="1200329"/>
          </a:xfrm>
          <a:prstGeom prst="rect">
            <a:avLst/>
          </a:prstGeom>
          <a:noFill/>
        </p:spPr>
        <p:txBody>
          <a:bodyPr wrap="square" lIns="91402" tIns="45701" rIns="91402" bIns="45701" rtlCol="0">
            <a:spAutoFit/>
          </a:bodyPr>
          <a:lstStyle/>
          <a:p>
            <a:pPr algn="ctr" defTabSz="914012"/>
            <a:r>
              <a:rPr lang="en-US" sz="2800" cap="small" dirty="0">
                <a:solidFill>
                  <a:srgbClr val="0C2D83"/>
                </a:solidFill>
                <a:latin typeface="Garamond" pitchFamily="18" charset="0"/>
              </a:rPr>
              <a:t>Commonwealth of Massachusetts</a:t>
            </a:r>
          </a:p>
          <a:p>
            <a:pPr algn="ctr" defTabSz="914012"/>
            <a:r>
              <a:rPr lang="en-US" sz="4400" cap="small" dirty="0">
                <a:solidFill>
                  <a:srgbClr val="0C2D83"/>
                </a:solidFill>
                <a:latin typeface="Garamond" pitchFamily="18" charset="0"/>
              </a:rPr>
              <a:t>Health Policy Commiss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2895602"/>
            <a:ext cx="7543800" cy="1066800"/>
          </a:xfrm>
          <a:prstGeom prst="rect">
            <a:avLst/>
          </a:prstGeom>
        </p:spPr>
        <p:txBody>
          <a:bodyPr lIns="91402" tIns="45701" rIns="91402" bIns="45701" anchor="ctr"/>
          <a:lstStyle>
            <a:lvl1pPr marL="0" indent="0" algn="ctr">
              <a:buNone/>
              <a:defRPr sz="4400" b="0">
                <a:solidFill>
                  <a:schemeClr val="tx2"/>
                </a:solidFill>
                <a:latin typeface="Garamond" panose="02020404030301010803" pitchFamily="18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590800" y="4876800"/>
            <a:ext cx="4114800" cy="304800"/>
          </a:xfrm>
          <a:prstGeom prst="rect">
            <a:avLst/>
          </a:prstGeom>
        </p:spPr>
        <p:txBody>
          <a:bodyPr lIns="91402" tIns="45701" rIns="91402" bIns="45701"/>
          <a:lstStyle>
            <a:lvl1pPr marL="0" indent="0" algn="ctr">
              <a:buNone/>
              <a:defRPr sz="1800">
                <a:solidFill>
                  <a:schemeClr val="tx2"/>
                </a:solidFill>
                <a:latin typeface="Garamond" panose="02020404030301010803" pitchFamily="18" charset="0"/>
              </a:defRPr>
            </a:lvl1pPr>
          </a:lstStyle>
          <a:p>
            <a:pPr lvl="0"/>
            <a:r>
              <a:rPr lang="en-US" dirty="0"/>
              <a:t>Date here</a:t>
            </a: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0" y="6251900"/>
            <a:ext cx="9144000" cy="197485"/>
          </a:xfrm>
          <a:prstGeom prst="rect">
            <a:avLst/>
          </a:prstGeom>
          <a:solidFill>
            <a:srgbClr val="DDA037"/>
          </a:solidFill>
          <a:ln w="12700" algn="in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50" tIns="36550" rIns="36550" bIns="36550" anchor="t" anchorCtr="0" upright="1">
            <a:noAutofit/>
          </a:bodyPr>
          <a:lstStyle/>
          <a:p>
            <a:pPr defTabSz="914109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0" y="6543405"/>
            <a:ext cx="9144000" cy="314598"/>
          </a:xfrm>
          <a:prstGeom prst="rect">
            <a:avLst/>
          </a:prstGeom>
          <a:solidFill>
            <a:srgbClr val="0C2D83"/>
          </a:solidFill>
          <a:ln w="12700" algn="in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EDEDE"/>
                  </a:outerShdw>
                </a:effectLst>
              </a14:hiddenEffects>
            </a:ext>
          </a:extLst>
        </p:spPr>
        <p:txBody>
          <a:bodyPr rot="0" vert="horz" wrap="square" lIns="36550" tIns="36550" rIns="36550" bIns="36550" anchor="t" anchorCtr="0" upright="1">
            <a:noAutofit/>
          </a:bodyPr>
          <a:lstStyle/>
          <a:p>
            <a:pPr defTabSz="914109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1" name="Picture 10"/>
          <p:cNvPicPr/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2446" y="6278293"/>
            <a:ext cx="539115" cy="530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600681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ra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1656552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90600" y="838199"/>
            <a:ext cx="7239000" cy="685801"/>
          </a:xfrm>
          <a:prstGeom prst="rect">
            <a:avLst/>
          </a:prstGeom>
        </p:spPr>
        <p:txBody>
          <a:bodyPr lIns="91420" tIns="45711" rIns="91420" bIns="45711"/>
          <a:lstStyle>
            <a:lvl1pPr marL="0" indent="0" algn="ctr">
              <a:buNone/>
              <a:defRPr b="1">
                <a:solidFill>
                  <a:schemeClr val="tx2"/>
                </a:solidFill>
                <a:latin typeface="Garamond" panose="02020404030301010803" pitchFamily="18" charset="0"/>
              </a:defRPr>
            </a:lvl1pPr>
            <a:lvl2pPr marL="457104" indent="-457104" algn="l"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Garamond" panose="02020404030301010803" pitchFamily="18" charset="0"/>
              </a:defRPr>
            </a:lvl2pPr>
            <a:lvl3pPr marL="914109" indent="0" algn="ctr">
              <a:buNone/>
              <a:defRPr>
                <a:solidFill>
                  <a:schemeClr val="tx2"/>
                </a:solidFill>
                <a:latin typeface="Garamond" panose="02020404030301010803" pitchFamily="18" charset="0"/>
              </a:defRPr>
            </a:lvl3pPr>
            <a:lvl4pPr marL="1371164" indent="0" algn="ctr">
              <a:buNone/>
              <a:defRPr>
                <a:solidFill>
                  <a:schemeClr val="tx2"/>
                </a:solidFill>
                <a:latin typeface="Garamond" panose="02020404030301010803" pitchFamily="18" charset="0"/>
              </a:defRPr>
            </a:lvl4pPr>
            <a:lvl5pPr marL="1828218" indent="0" algn="ctr">
              <a:buNone/>
              <a:defRPr>
                <a:solidFill>
                  <a:schemeClr val="tx2"/>
                </a:solidFill>
                <a:latin typeface="Garamond" panose="02020404030301010803" pitchFamily="18" charset="0"/>
              </a:defRPr>
            </a:lvl5pPr>
          </a:lstStyle>
          <a:p>
            <a:pPr lvl="0"/>
            <a:r>
              <a:rPr lang="en-US" dirty="0"/>
              <a:t>Insert Agenda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905000" y="2057400"/>
            <a:ext cx="5410200" cy="3352800"/>
          </a:xfrm>
          <a:prstGeom prst="rect">
            <a:avLst/>
          </a:prstGeom>
        </p:spPr>
        <p:txBody>
          <a:bodyPr lIns="91420" tIns="45711" rIns="91420" bIns="45711" anchor="ctr"/>
          <a:lstStyle>
            <a:lvl1pPr marL="284103" indent="-284103">
              <a:spcAft>
                <a:spcPts val="600"/>
              </a:spcAft>
              <a:buFont typeface="Wingdings" panose="05000000000000000000" pitchFamily="2" charset="2"/>
              <a:buChar char="§"/>
              <a:defRPr sz="2400">
                <a:solidFill>
                  <a:schemeClr val="tx2"/>
                </a:solidFill>
                <a:latin typeface="Garamond" panose="02020404030301010803" pitchFamily="18" charset="0"/>
              </a:defRPr>
            </a:lvl1pPr>
            <a:lvl2pPr>
              <a:spcAft>
                <a:spcPts val="600"/>
              </a:spcAft>
              <a:defRPr sz="2000">
                <a:solidFill>
                  <a:schemeClr val="tx2"/>
                </a:solidFill>
                <a:latin typeface="Garamond" panose="02020404030301010803" pitchFamily="18" charset="0"/>
              </a:defRPr>
            </a:lvl2pPr>
            <a:lvl3pPr>
              <a:spcAft>
                <a:spcPts val="600"/>
              </a:spcAft>
              <a:defRPr sz="1800">
                <a:solidFill>
                  <a:schemeClr val="tx2"/>
                </a:solidFill>
                <a:latin typeface="Garamond" panose="02020404030301010803" pitchFamily="18" charset="0"/>
              </a:defRPr>
            </a:lvl3pPr>
            <a:lvl4pPr>
              <a:spcAft>
                <a:spcPts val="600"/>
              </a:spcAft>
              <a:defRPr sz="1600">
                <a:solidFill>
                  <a:schemeClr val="tx2"/>
                </a:solidFill>
                <a:latin typeface="Garamond" panose="02020404030301010803" pitchFamily="18" charset="0"/>
              </a:defRPr>
            </a:lvl4pPr>
            <a:lvl5pPr>
              <a:spcAft>
                <a:spcPts val="600"/>
              </a:spcAft>
              <a:defRPr sz="1600">
                <a:solidFill>
                  <a:schemeClr val="tx2"/>
                </a:solidFill>
                <a:latin typeface="Garamond" panose="02020404030301010803" pitchFamily="18" charset="0"/>
              </a:defRPr>
            </a:lvl5pPr>
          </a:lstStyle>
          <a:p>
            <a:pPr lvl="0"/>
            <a:r>
              <a:rPr lang="en-US" dirty="0"/>
              <a:t>Write agenda items, and move light blue box to indicate active agenda item (bold active agenda item if desired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0" y="6251900"/>
            <a:ext cx="9144000" cy="197485"/>
          </a:xfrm>
          <a:prstGeom prst="rect">
            <a:avLst/>
          </a:prstGeom>
          <a:solidFill>
            <a:srgbClr val="DDA037"/>
          </a:solidFill>
          <a:ln w="12700" algn="in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50" tIns="36550" rIns="36550" bIns="36550" anchor="t" anchorCtr="0" upright="1">
            <a:noAutofit/>
          </a:bodyPr>
          <a:lstStyle/>
          <a:p>
            <a:pPr defTabSz="914109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0" y="6543405"/>
            <a:ext cx="9144000" cy="314598"/>
          </a:xfrm>
          <a:prstGeom prst="rect">
            <a:avLst/>
          </a:prstGeom>
          <a:solidFill>
            <a:srgbClr val="0C2D83"/>
          </a:solidFill>
          <a:ln w="12700" algn="in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EDEDE"/>
                  </a:outerShdw>
                </a:effectLst>
              </a14:hiddenEffects>
            </a:ext>
          </a:extLst>
        </p:spPr>
        <p:txBody>
          <a:bodyPr rot="0" vert="horz" wrap="square" lIns="36550" tIns="36550" rIns="36550" bIns="36550" anchor="t" anchorCtr="0" upright="1">
            <a:noAutofit/>
          </a:bodyPr>
          <a:lstStyle/>
          <a:p>
            <a:pPr defTabSz="914109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0" name="Picture 9"/>
          <p:cNvPicPr/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2446" y="6278293"/>
            <a:ext cx="539115" cy="530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56815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2272114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5999"/>
            <a:ext cx="7162800" cy="685801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1"/>
            <a:ext cx="8229600" cy="685801"/>
          </a:xfrm>
          <a:prstGeom prst="rect">
            <a:avLst/>
          </a:prstGeom>
        </p:spPr>
        <p:txBody>
          <a:bodyPr lIns="91382" tIns="45691" rIns="91382" bIns="4569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878534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2704614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5999"/>
            <a:ext cx="7162800" cy="685801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1"/>
            <a:ext cx="8229600" cy="685801"/>
          </a:xfrm>
          <a:prstGeom prst="rect">
            <a:avLst/>
          </a:prstGeom>
        </p:spPr>
        <p:txBody>
          <a:bodyPr lIns="91382" tIns="45691" rIns="91382" bIns="4569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2"/>
            <a:ext cx="8229600" cy="533400"/>
          </a:xfrm>
          <a:prstGeom prst="rect">
            <a:avLst/>
          </a:prstGeom>
        </p:spPr>
        <p:txBody>
          <a:bodyPr lIns="91420" tIns="45711" rIns="91420" bIns="45711"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6910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34363719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2409178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5999"/>
            <a:ext cx="7162800" cy="685801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1"/>
            <a:ext cx="8229600" cy="685801"/>
          </a:xfrm>
          <a:prstGeom prst="rect">
            <a:avLst/>
          </a:prstGeom>
        </p:spPr>
        <p:txBody>
          <a:bodyPr lIns="91382" tIns="45691" rIns="91382" bIns="4569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20" tIns="182841" rIns="91420" bIns="182841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1182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42559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3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3212786"/>
      </p:ext>
    </p:extLst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42808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" name="Straight Connector 1"/>
          <p:cNvCxnSpPr/>
          <p:nvPr userDrawn="1"/>
        </p:nvCxnSpPr>
        <p:spPr>
          <a:xfrm flipH="1">
            <a:off x="304800" y="1447800"/>
            <a:ext cx="8585042" cy="0"/>
          </a:xfrm>
          <a:prstGeom prst="line">
            <a:avLst/>
          </a:prstGeom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 userDrawn="1"/>
        </p:nvSpPr>
        <p:spPr>
          <a:xfrm>
            <a:off x="304802" y="228600"/>
            <a:ext cx="8595188" cy="1200329"/>
          </a:xfrm>
          <a:prstGeom prst="rect">
            <a:avLst/>
          </a:prstGeom>
          <a:noFill/>
        </p:spPr>
        <p:txBody>
          <a:bodyPr wrap="square" lIns="91420" tIns="45711" rIns="91420" bIns="45711" rtlCol="0">
            <a:spAutoFit/>
          </a:bodyPr>
          <a:lstStyle/>
          <a:p>
            <a:pPr algn="ctr" defTabSz="914206"/>
            <a:r>
              <a:rPr lang="en-US" sz="2800" cap="small" dirty="0">
                <a:solidFill>
                  <a:srgbClr val="0C2D83"/>
                </a:solidFill>
                <a:latin typeface="Garamond" pitchFamily="18" charset="0"/>
              </a:rPr>
              <a:t>Commonwealth of Massachusetts</a:t>
            </a:r>
          </a:p>
          <a:p>
            <a:pPr algn="ctr" defTabSz="914206"/>
            <a:r>
              <a:rPr lang="en-US" sz="4400" cap="small" dirty="0">
                <a:solidFill>
                  <a:srgbClr val="0C2D83"/>
                </a:solidFill>
                <a:latin typeface="Garamond" pitchFamily="18" charset="0"/>
              </a:rPr>
              <a:t>Health Policy Commiss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2895600"/>
            <a:ext cx="7543800" cy="1066800"/>
          </a:xfrm>
          <a:prstGeom prst="rect">
            <a:avLst/>
          </a:prstGeom>
        </p:spPr>
        <p:txBody>
          <a:bodyPr lIns="91420" tIns="45711" rIns="91420" bIns="45711" anchor="ctr"/>
          <a:lstStyle>
            <a:lvl1pPr marL="0" indent="0" algn="ctr">
              <a:buNone/>
              <a:defRPr sz="4400" b="0">
                <a:solidFill>
                  <a:schemeClr val="tx2"/>
                </a:solidFill>
                <a:latin typeface="Garamond" panose="02020404030301010803" pitchFamily="18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590800" y="4876800"/>
            <a:ext cx="4114800" cy="304800"/>
          </a:xfrm>
          <a:prstGeom prst="rect">
            <a:avLst/>
          </a:prstGeom>
        </p:spPr>
        <p:txBody>
          <a:bodyPr lIns="91420" tIns="45711" rIns="91420" bIns="45711"/>
          <a:lstStyle>
            <a:lvl1pPr marL="0" indent="0" algn="ctr">
              <a:buNone/>
              <a:defRPr sz="1800">
                <a:solidFill>
                  <a:schemeClr val="tx2"/>
                </a:solidFill>
                <a:latin typeface="Garamond" panose="02020404030301010803" pitchFamily="18" charset="0"/>
              </a:defRPr>
            </a:lvl1pPr>
          </a:lstStyle>
          <a:p>
            <a:pPr lvl="0"/>
            <a:r>
              <a:rPr lang="en-US" dirty="0"/>
              <a:t>Date here</a:t>
            </a: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0" y="6251900"/>
            <a:ext cx="9144000" cy="197485"/>
          </a:xfrm>
          <a:prstGeom prst="rect">
            <a:avLst/>
          </a:prstGeom>
          <a:solidFill>
            <a:srgbClr val="DDA037"/>
          </a:solidFill>
          <a:ln w="12700" algn="in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58" tIns="36558" rIns="36558" bIns="36558" anchor="t" anchorCtr="0" upright="1">
            <a:noAutofit/>
          </a:bodyPr>
          <a:lstStyle/>
          <a:p>
            <a:pPr defTabSz="914303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0" y="6543403"/>
            <a:ext cx="9144000" cy="314598"/>
          </a:xfrm>
          <a:prstGeom prst="rect">
            <a:avLst/>
          </a:prstGeom>
          <a:solidFill>
            <a:srgbClr val="0C2D83"/>
          </a:solidFill>
          <a:ln w="12700" algn="in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EDEDE"/>
                  </a:outerShdw>
                </a:effectLst>
              </a14:hiddenEffects>
            </a:ext>
          </a:extLst>
        </p:spPr>
        <p:txBody>
          <a:bodyPr rot="0" vert="horz" wrap="square" lIns="36558" tIns="36558" rIns="36558" bIns="36558" anchor="t" anchorCtr="0" upright="1">
            <a:noAutofit/>
          </a:bodyPr>
          <a:lstStyle/>
          <a:p>
            <a:pPr defTabSz="914303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1" name="Picture 10"/>
          <p:cNvPicPr/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2444" y="6278291"/>
            <a:ext cx="539115" cy="530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33938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ra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62691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90600" y="838200"/>
            <a:ext cx="7239000" cy="6858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solidFill>
                  <a:schemeClr val="tx2"/>
                </a:solidFill>
                <a:latin typeface="Garamond" panose="02020404030301010803" pitchFamily="18" charset="0"/>
              </a:defRPr>
            </a:lvl1pPr>
            <a:lvl2pPr marL="457200" indent="-457200" algn="l"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Garamond" panose="02020404030301010803" pitchFamily="18" charset="0"/>
              </a:defRPr>
            </a:lvl2pPr>
            <a:lvl3pPr marL="914303" indent="0" algn="ctr">
              <a:buNone/>
              <a:defRPr>
                <a:solidFill>
                  <a:schemeClr val="tx2"/>
                </a:solidFill>
                <a:latin typeface="Garamond" panose="02020404030301010803" pitchFamily="18" charset="0"/>
              </a:defRPr>
            </a:lvl3pPr>
            <a:lvl4pPr marL="1371454" indent="0" algn="ctr">
              <a:buNone/>
              <a:defRPr>
                <a:solidFill>
                  <a:schemeClr val="tx2"/>
                </a:solidFill>
                <a:latin typeface="Garamond" panose="02020404030301010803" pitchFamily="18" charset="0"/>
              </a:defRPr>
            </a:lvl4pPr>
            <a:lvl5pPr marL="1828606" indent="0" algn="ctr">
              <a:buNone/>
              <a:defRPr>
                <a:solidFill>
                  <a:schemeClr val="tx2"/>
                </a:solidFill>
                <a:latin typeface="Garamond" panose="02020404030301010803" pitchFamily="18" charset="0"/>
              </a:defRPr>
            </a:lvl5pPr>
          </a:lstStyle>
          <a:p>
            <a:pPr lvl="0"/>
            <a:r>
              <a:rPr lang="en-US" dirty="0"/>
              <a:t>Insert Agenda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905000" y="2057400"/>
            <a:ext cx="5410200" cy="3352800"/>
          </a:xfrm>
          <a:prstGeom prst="rect">
            <a:avLst/>
          </a:prstGeom>
        </p:spPr>
        <p:txBody>
          <a:bodyPr anchor="ctr"/>
          <a:lstStyle>
            <a:lvl1pPr marL="284163" indent="-284163">
              <a:spcAft>
                <a:spcPts val="600"/>
              </a:spcAft>
              <a:buFont typeface="Wingdings" panose="05000000000000000000" pitchFamily="2" charset="2"/>
              <a:buChar char="§"/>
              <a:defRPr sz="2400">
                <a:solidFill>
                  <a:schemeClr val="tx2"/>
                </a:solidFill>
                <a:latin typeface="Garamond" panose="02020404030301010803" pitchFamily="18" charset="0"/>
              </a:defRPr>
            </a:lvl1pPr>
            <a:lvl2pPr>
              <a:spcAft>
                <a:spcPts val="600"/>
              </a:spcAft>
              <a:defRPr sz="2000">
                <a:solidFill>
                  <a:schemeClr val="tx2"/>
                </a:solidFill>
                <a:latin typeface="Garamond" panose="02020404030301010803" pitchFamily="18" charset="0"/>
              </a:defRPr>
            </a:lvl2pPr>
            <a:lvl3pPr>
              <a:spcAft>
                <a:spcPts val="600"/>
              </a:spcAft>
              <a:defRPr sz="1800">
                <a:solidFill>
                  <a:schemeClr val="tx2"/>
                </a:solidFill>
                <a:latin typeface="Garamond" panose="02020404030301010803" pitchFamily="18" charset="0"/>
              </a:defRPr>
            </a:lvl3pPr>
            <a:lvl4pPr>
              <a:spcAft>
                <a:spcPts val="600"/>
              </a:spcAft>
              <a:defRPr sz="1600">
                <a:solidFill>
                  <a:schemeClr val="tx2"/>
                </a:solidFill>
                <a:latin typeface="Garamond" panose="02020404030301010803" pitchFamily="18" charset="0"/>
              </a:defRPr>
            </a:lvl4pPr>
            <a:lvl5pPr>
              <a:spcAft>
                <a:spcPts val="600"/>
              </a:spcAft>
              <a:defRPr sz="1600">
                <a:solidFill>
                  <a:schemeClr val="tx2"/>
                </a:solidFill>
                <a:latin typeface="Garamond" panose="02020404030301010803" pitchFamily="18" charset="0"/>
              </a:defRPr>
            </a:lvl5pPr>
          </a:lstStyle>
          <a:p>
            <a:pPr lvl="0"/>
            <a:r>
              <a:rPr lang="en-US" dirty="0"/>
              <a:t>Write agenda items, and move light blue box to indicate active agenda item (bold active agenda item if desired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0" y="6251900"/>
            <a:ext cx="9144000" cy="197485"/>
          </a:xfrm>
          <a:prstGeom prst="rect">
            <a:avLst/>
          </a:prstGeom>
          <a:solidFill>
            <a:srgbClr val="DDA037"/>
          </a:solidFill>
          <a:ln w="12700" algn="in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58" tIns="36558" rIns="36558" bIns="36558" anchor="t" anchorCtr="0" upright="1">
            <a:noAutofit/>
          </a:bodyPr>
          <a:lstStyle/>
          <a:p>
            <a:pPr defTabSz="914303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0" y="6543403"/>
            <a:ext cx="9144000" cy="314598"/>
          </a:xfrm>
          <a:prstGeom prst="rect">
            <a:avLst/>
          </a:prstGeom>
          <a:solidFill>
            <a:srgbClr val="0C2D83"/>
          </a:solidFill>
          <a:ln w="12700" algn="in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EDEDE"/>
                  </a:outerShdw>
                </a:effectLst>
              </a14:hiddenEffects>
            </a:ext>
          </a:extLst>
        </p:spPr>
        <p:txBody>
          <a:bodyPr rot="0" vert="horz" wrap="square" lIns="36558" tIns="36558" rIns="36558" bIns="36558" anchor="t" anchorCtr="0" upright="1">
            <a:noAutofit/>
          </a:bodyPr>
          <a:lstStyle/>
          <a:p>
            <a:pPr defTabSz="914303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0" name="Picture 9"/>
          <p:cNvPicPr/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2444" y="6278291"/>
            <a:ext cx="539115" cy="530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262148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61768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87859871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59503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 marL="171450" indent="-171450">
              <a:buFont typeface="Wingdings" panose="05000000000000000000" pitchFamily="2" charset="2"/>
              <a:buChar char="§"/>
              <a:defRPr sz="1600"/>
            </a:lvl1pPr>
            <a:lvl2pPr marL="628650" indent="-171450">
              <a:defRPr sz="1400"/>
            </a:lvl2pPr>
            <a:lvl3pPr marL="1085850" indent="-171450">
              <a:buFont typeface="Wingdings" panose="05000000000000000000" pitchFamily="2" charset="2"/>
              <a:buChar char="§"/>
              <a:defRPr sz="1200"/>
            </a:lvl3pPr>
            <a:lvl4pPr marL="1543050" indent="-171450">
              <a:defRPr sz="1100"/>
            </a:lvl4pPr>
            <a:lvl5pPr marL="1943100" indent="-114300"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837242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0850755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30001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" name="Straight Connector 1"/>
          <p:cNvCxnSpPr/>
          <p:nvPr userDrawn="1"/>
        </p:nvCxnSpPr>
        <p:spPr>
          <a:xfrm flipH="1">
            <a:off x="304800" y="1447800"/>
            <a:ext cx="8585042" cy="0"/>
          </a:xfrm>
          <a:prstGeom prst="line">
            <a:avLst/>
          </a:prstGeom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 userDrawn="1"/>
        </p:nvSpPr>
        <p:spPr>
          <a:xfrm>
            <a:off x="304802" y="228600"/>
            <a:ext cx="8595188" cy="1200329"/>
          </a:xfrm>
          <a:prstGeom prst="rect">
            <a:avLst/>
          </a:prstGeom>
          <a:noFill/>
        </p:spPr>
        <p:txBody>
          <a:bodyPr wrap="square" lIns="91420" tIns="45711" rIns="91420" bIns="45711" rtlCol="0">
            <a:spAutoFit/>
          </a:bodyPr>
          <a:lstStyle/>
          <a:p>
            <a:pPr algn="ctr" defTabSz="914206"/>
            <a:r>
              <a:rPr lang="en-US" sz="2800" cap="small" dirty="0">
                <a:solidFill>
                  <a:srgbClr val="0C2D83"/>
                </a:solidFill>
                <a:latin typeface="Garamond" pitchFamily="18" charset="0"/>
              </a:rPr>
              <a:t>Commonwealth of Massachusetts</a:t>
            </a:r>
          </a:p>
          <a:p>
            <a:pPr algn="ctr" defTabSz="914206"/>
            <a:r>
              <a:rPr lang="en-US" sz="4400" cap="small" dirty="0">
                <a:solidFill>
                  <a:srgbClr val="0C2D83"/>
                </a:solidFill>
                <a:latin typeface="Garamond" pitchFamily="18" charset="0"/>
              </a:rPr>
              <a:t>Health Policy Commiss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2895600"/>
            <a:ext cx="7543800" cy="1066800"/>
          </a:xfrm>
          <a:prstGeom prst="rect">
            <a:avLst/>
          </a:prstGeom>
        </p:spPr>
        <p:txBody>
          <a:bodyPr lIns="91420" tIns="45711" rIns="91420" bIns="45711" anchor="ctr"/>
          <a:lstStyle>
            <a:lvl1pPr marL="0" indent="0" algn="ctr">
              <a:buNone/>
              <a:defRPr sz="4400" b="0">
                <a:solidFill>
                  <a:schemeClr val="tx2"/>
                </a:solidFill>
                <a:latin typeface="Garamond" panose="02020404030301010803" pitchFamily="18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590800" y="4876800"/>
            <a:ext cx="4114800" cy="304800"/>
          </a:xfrm>
          <a:prstGeom prst="rect">
            <a:avLst/>
          </a:prstGeom>
        </p:spPr>
        <p:txBody>
          <a:bodyPr lIns="91420" tIns="45711" rIns="91420" bIns="45711"/>
          <a:lstStyle>
            <a:lvl1pPr marL="0" indent="0" algn="ctr">
              <a:buNone/>
              <a:defRPr sz="1800">
                <a:solidFill>
                  <a:schemeClr val="tx2"/>
                </a:solidFill>
                <a:latin typeface="Garamond" panose="02020404030301010803" pitchFamily="18" charset="0"/>
              </a:defRPr>
            </a:lvl1pPr>
          </a:lstStyle>
          <a:p>
            <a:pPr lvl="0"/>
            <a:r>
              <a:rPr lang="en-US" dirty="0"/>
              <a:t>Date here</a:t>
            </a: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0" y="6251900"/>
            <a:ext cx="9144000" cy="197485"/>
          </a:xfrm>
          <a:prstGeom prst="rect">
            <a:avLst/>
          </a:prstGeom>
          <a:solidFill>
            <a:srgbClr val="DDA037"/>
          </a:solidFill>
          <a:ln w="12700" algn="in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58" tIns="36558" rIns="36558" bIns="36558" anchor="t" anchorCtr="0" upright="1">
            <a:noAutofit/>
          </a:bodyPr>
          <a:lstStyle/>
          <a:p>
            <a:pPr defTabSz="914303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0" y="6543403"/>
            <a:ext cx="9144000" cy="314598"/>
          </a:xfrm>
          <a:prstGeom prst="rect">
            <a:avLst/>
          </a:prstGeom>
          <a:solidFill>
            <a:srgbClr val="0C2D83"/>
          </a:solidFill>
          <a:ln w="12700" algn="in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EDEDE"/>
                  </a:outerShdw>
                </a:effectLst>
              </a14:hiddenEffects>
            </a:ext>
          </a:extLst>
        </p:spPr>
        <p:txBody>
          <a:bodyPr rot="0" vert="horz" wrap="square" lIns="36558" tIns="36558" rIns="36558" bIns="36558" anchor="t" anchorCtr="0" upright="1">
            <a:noAutofit/>
          </a:bodyPr>
          <a:lstStyle/>
          <a:p>
            <a:pPr defTabSz="914303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1" name="Picture 10"/>
          <p:cNvPicPr/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2444" y="6278291"/>
            <a:ext cx="539115" cy="530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14522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ra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05893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90600" y="838200"/>
            <a:ext cx="7239000" cy="6858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solidFill>
                  <a:schemeClr val="tx2"/>
                </a:solidFill>
                <a:latin typeface="Garamond" panose="02020404030301010803" pitchFamily="18" charset="0"/>
              </a:defRPr>
            </a:lvl1pPr>
            <a:lvl2pPr marL="457200" indent="-457200" algn="l"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Garamond" panose="02020404030301010803" pitchFamily="18" charset="0"/>
              </a:defRPr>
            </a:lvl2pPr>
            <a:lvl3pPr marL="914303" indent="0" algn="ctr">
              <a:buNone/>
              <a:defRPr>
                <a:solidFill>
                  <a:schemeClr val="tx2"/>
                </a:solidFill>
                <a:latin typeface="Garamond" panose="02020404030301010803" pitchFamily="18" charset="0"/>
              </a:defRPr>
            </a:lvl3pPr>
            <a:lvl4pPr marL="1371454" indent="0" algn="ctr">
              <a:buNone/>
              <a:defRPr>
                <a:solidFill>
                  <a:schemeClr val="tx2"/>
                </a:solidFill>
                <a:latin typeface="Garamond" panose="02020404030301010803" pitchFamily="18" charset="0"/>
              </a:defRPr>
            </a:lvl4pPr>
            <a:lvl5pPr marL="1828606" indent="0" algn="ctr">
              <a:buNone/>
              <a:defRPr>
                <a:solidFill>
                  <a:schemeClr val="tx2"/>
                </a:solidFill>
                <a:latin typeface="Garamond" panose="02020404030301010803" pitchFamily="18" charset="0"/>
              </a:defRPr>
            </a:lvl5pPr>
          </a:lstStyle>
          <a:p>
            <a:pPr lvl="0"/>
            <a:r>
              <a:rPr lang="en-US" dirty="0"/>
              <a:t>Insert Agenda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905000" y="2057400"/>
            <a:ext cx="5410200" cy="3352800"/>
          </a:xfrm>
          <a:prstGeom prst="rect">
            <a:avLst/>
          </a:prstGeom>
        </p:spPr>
        <p:txBody>
          <a:bodyPr anchor="ctr"/>
          <a:lstStyle>
            <a:lvl1pPr marL="284163" indent="-284163">
              <a:spcAft>
                <a:spcPts val="600"/>
              </a:spcAft>
              <a:buFont typeface="Wingdings" panose="05000000000000000000" pitchFamily="2" charset="2"/>
              <a:buChar char="§"/>
              <a:defRPr sz="2400">
                <a:solidFill>
                  <a:schemeClr val="tx2"/>
                </a:solidFill>
                <a:latin typeface="Garamond" panose="02020404030301010803" pitchFamily="18" charset="0"/>
              </a:defRPr>
            </a:lvl1pPr>
            <a:lvl2pPr>
              <a:spcAft>
                <a:spcPts val="600"/>
              </a:spcAft>
              <a:defRPr sz="2000">
                <a:solidFill>
                  <a:schemeClr val="tx2"/>
                </a:solidFill>
                <a:latin typeface="Garamond" panose="02020404030301010803" pitchFamily="18" charset="0"/>
              </a:defRPr>
            </a:lvl2pPr>
            <a:lvl3pPr>
              <a:spcAft>
                <a:spcPts val="600"/>
              </a:spcAft>
              <a:defRPr sz="1800">
                <a:solidFill>
                  <a:schemeClr val="tx2"/>
                </a:solidFill>
                <a:latin typeface="Garamond" panose="02020404030301010803" pitchFamily="18" charset="0"/>
              </a:defRPr>
            </a:lvl3pPr>
            <a:lvl4pPr>
              <a:spcAft>
                <a:spcPts val="600"/>
              </a:spcAft>
              <a:defRPr sz="1600">
                <a:solidFill>
                  <a:schemeClr val="tx2"/>
                </a:solidFill>
                <a:latin typeface="Garamond" panose="02020404030301010803" pitchFamily="18" charset="0"/>
              </a:defRPr>
            </a:lvl4pPr>
            <a:lvl5pPr>
              <a:spcAft>
                <a:spcPts val="600"/>
              </a:spcAft>
              <a:defRPr sz="1600">
                <a:solidFill>
                  <a:schemeClr val="tx2"/>
                </a:solidFill>
                <a:latin typeface="Garamond" panose="02020404030301010803" pitchFamily="18" charset="0"/>
              </a:defRPr>
            </a:lvl5pPr>
          </a:lstStyle>
          <a:p>
            <a:pPr lvl="0"/>
            <a:r>
              <a:rPr lang="en-US" dirty="0"/>
              <a:t>Write agenda items, and move light blue box to indicate active agenda item (bold active agenda item if desired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0" y="6251900"/>
            <a:ext cx="9144000" cy="197485"/>
          </a:xfrm>
          <a:prstGeom prst="rect">
            <a:avLst/>
          </a:prstGeom>
          <a:solidFill>
            <a:srgbClr val="DDA037"/>
          </a:solidFill>
          <a:ln w="12700" algn="in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58" tIns="36558" rIns="36558" bIns="36558" anchor="t" anchorCtr="0" upright="1">
            <a:noAutofit/>
          </a:bodyPr>
          <a:lstStyle/>
          <a:p>
            <a:pPr defTabSz="914303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0" y="6543403"/>
            <a:ext cx="9144000" cy="314598"/>
          </a:xfrm>
          <a:prstGeom prst="rect">
            <a:avLst/>
          </a:prstGeom>
          <a:solidFill>
            <a:srgbClr val="0C2D83"/>
          </a:solidFill>
          <a:ln w="12700" algn="in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EDEDE"/>
                  </a:outerShdw>
                </a:effectLst>
              </a14:hiddenEffects>
            </a:ext>
          </a:extLst>
        </p:spPr>
        <p:txBody>
          <a:bodyPr rot="0" vert="horz" wrap="square" lIns="36558" tIns="36558" rIns="36558" bIns="36558" anchor="t" anchorCtr="0" upright="1">
            <a:noAutofit/>
          </a:bodyPr>
          <a:lstStyle/>
          <a:p>
            <a:pPr defTabSz="914303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0" name="Picture 9"/>
          <p:cNvPicPr/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2444" y="6278291"/>
            <a:ext cx="539115" cy="530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98776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04799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38407774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9043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17901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073994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1392568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7"/>
          <p:cNvSpPr>
            <a:spLocks noGrp="1"/>
          </p:cNvSpPr>
          <p:nvPr>
            <p:ph sz="half" idx="1"/>
          </p:nvPr>
        </p:nvSpPr>
        <p:spPr>
          <a:xfrm>
            <a:off x="533400" y="1939158"/>
            <a:ext cx="8077200" cy="4461641"/>
          </a:xfrm>
        </p:spPr>
        <p:txBody>
          <a:bodyPr/>
          <a:lstStyle>
            <a:lvl1pPr>
              <a:buClrTx/>
              <a:defRPr sz="2400">
                <a:solidFill>
                  <a:schemeClr val="tx1"/>
                </a:solidFill>
              </a:defRPr>
            </a:lvl1pPr>
            <a:lvl2pPr>
              <a:buClrTx/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2pPr>
            <a:lvl3pPr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48594049"/>
      </p:ext>
    </p:extLst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1770" y="109538"/>
            <a:ext cx="5549030" cy="762000"/>
          </a:xfrm>
        </p:spPr>
        <p:txBody>
          <a:bodyPr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44079232"/>
      </p:ext>
    </p:extLst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4386" y="109538"/>
            <a:ext cx="4837482" cy="762000"/>
          </a:xfrm>
        </p:spPr>
        <p:txBody>
          <a:bodyPr anchor="ctr"/>
          <a:lstStyle>
            <a:lvl1pPr>
              <a:defRPr>
                <a:latin typeface="+mj-lt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04441659"/>
      </p:ext>
    </p:extLst>
  </p:cSld>
  <p:clrMapOvr>
    <a:masterClrMapping/>
  </p:clrMapOvr>
  <p:transition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13" y="109538"/>
            <a:ext cx="5564187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31968539"/>
      </p:ext>
    </p:extLst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600" y="109538"/>
            <a:ext cx="5664200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219200"/>
            <a:ext cx="81534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6527422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7714369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8AB0416B-871F-45A6-A8D9-8531D3B4205C}" type="datetime1">
              <a:rPr lang="en-US" smtClean="0"/>
              <a:pPr fontAlgn="base">
                <a:spcAft>
                  <a:spcPct val="0"/>
                </a:spcAft>
                <a:defRPr/>
              </a:pPr>
              <a:t>8/9/2017</a:t>
            </a:fld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US" dirty="0"/>
              <a:t>DRAFT FOR POLICY DEVELOPMENT PURPOSES ONLY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525B1E92-C86F-4366-A76D-C560614973E7}" type="slidenum">
              <a:rPr lang="en-US"/>
              <a:pPr fontAlgn="base"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241345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00002" name="Picture 2" descr="Picture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8" y="-6350"/>
            <a:ext cx="918845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00003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267201" y="3124200"/>
            <a:ext cx="4667250" cy="1568257"/>
          </a:xfrm>
        </p:spPr>
        <p:txBody>
          <a:bodyPr lIns="91430" tIns="45716" rIns="91430" bIns="45716"/>
          <a:lstStyle>
            <a:lvl1pPr marL="0" indent="0" algn="r">
              <a:defRPr sz="2800">
                <a:solidFill>
                  <a:srgbClr val="003366"/>
                </a:solidFill>
              </a:defRPr>
            </a:lvl1pPr>
            <a:lvl2pPr lvl="1" algn="r">
              <a:defRPr sz="2000">
                <a:solidFill>
                  <a:schemeClr val="tx2"/>
                </a:solidFill>
              </a:defRPr>
            </a:lvl2pPr>
            <a:lvl3pPr lvl="2" algn="r">
              <a:defRPr sz="2000">
                <a:solidFill>
                  <a:schemeClr val="tx2"/>
                </a:solidFill>
              </a:defRPr>
            </a:lvl3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3200006" name="Rectangle 6"/>
          <p:cNvSpPr>
            <a:spLocks noChangeArrowheads="1"/>
          </p:cNvSpPr>
          <p:nvPr userDrawn="1"/>
        </p:nvSpPr>
        <p:spPr bwMode="white">
          <a:xfrm>
            <a:off x="152400" y="1143000"/>
            <a:ext cx="4495800" cy="20574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 anchor="b"/>
          <a:lstStyle/>
          <a:p>
            <a:pPr eaLnBrk="0" fontAlgn="base" hangingPunct="0">
              <a:spcBef>
                <a:spcPct val="20000"/>
              </a:spcBef>
              <a:spcAft>
                <a:spcPct val="0"/>
              </a:spcAft>
              <a:tabLst>
                <a:tab pos="915891" algn="l"/>
              </a:tabLst>
            </a:pPr>
            <a:r>
              <a:rPr lang="en-US" altLang="en-US" sz="2800" b="1" dirty="0">
                <a:solidFill>
                  <a:srgbClr val="F8F8F8"/>
                </a:solidFill>
              </a:rPr>
              <a:t>Commonwealth of Massachusetts</a:t>
            </a:r>
            <a:br>
              <a:rPr lang="en-US" altLang="en-US" sz="2800" b="1" dirty="0">
                <a:solidFill>
                  <a:srgbClr val="F8F8F8"/>
                </a:solidFill>
              </a:rPr>
            </a:br>
            <a:r>
              <a:rPr lang="en-US" altLang="en-US" sz="1900" b="1" dirty="0">
                <a:solidFill>
                  <a:srgbClr val="F8F8F8"/>
                </a:solidFill>
              </a:rPr>
              <a:t>Executive Office of Health and Human Services</a:t>
            </a:r>
            <a:br>
              <a:rPr lang="en-US" altLang="en-US" sz="1900" b="1" dirty="0">
                <a:solidFill>
                  <a:srgbClr val="F8F8F8"/>
                </a:solidFill>
              </a:rPr>
            </a:br>
            <a:br>
              <a:rPr lang="en-US" altLang="en-US" sz="1900" b="1" dirty="0">
                <a:solidFill>
                  <a:srgbClr val="F8F8F8"/>
                </a:solidFill>
              </a:rPr>
            </a:br>
            <a:endParaRPr lang="en-US" sz="2800" b="1" dirty="0">
              <a:solidFill>
                <a:srgbClr val="F8F8F8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89955" y="457200"/>
            <a:ext cx="1934480" cy="193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229871"/>
      </p:ext>
    </p:extLst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533400" y="1371600"/>
            <a:ext cx="7851648" cy="1828800"/>
          </a:xfrm>
          <a:ln>
            <a:noFill/>
          </a:ln>
        </p:spPr>
        <p:txBody>
          <a:bodyPr vert="horz" tIns="0" rIns="18288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  <a:contourClr>
                <a:schemeClr val="tx2"/>
              </a:contourClr>
            </a:sp3d>
          </a:bodyPr>
          <a:lstStyle>
            <a:lvl1pPr algn="r" rtl="0">
              <a:spcBef>
                <a:spcPct val="0"/>
              </a:spcBef>
              <a:buNone/>
              <a:defRPr sz="5600" b="1">
                <a:ln>
                  <a:noFill/>
                </a:ln>
                <a:solidFill>
                  <a:schemeClr val="accent3">
                    <a:tint val="90000"/>
                    <a:satMod val="120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/>
              <a:t>Click to edit Master title style</a:t>
            </a:r>
            <a:endParaRPr kumimoji="0" lang="en-US" dirty="0"/>
          </a:p>
        </p:txBody>
      </p:sp>
      <p:sp>
        <p:nvSpPr>
          <p:cNvPr id="17" name="Subtitle 16"/>
          <p:cNvSpPr>
            <a:spLocks noGrp="1"/>
          </p:cNvSpPr>
          <p:nvPr>
            <p:ph type="subTitle" idx="1" hasCustomPrompt="1"/>
          </p:nvPr>
        </p:nvSpPr>
        <p:spPr>
          <a:xfrm>
            <a:off x="533400" y="3228536"/>
            <a:ext cx="7854696" cy="1752600"/>
          </a:xfrm>
        </p:spPr>
        <p:txBody>
          <a:bodyPr lIns="0" rIns="18288"/>
          <a:lstStyle>
            <a:lvl1pPr marL="0" marR="4572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n-US" dirty="0"/>
              <a:t>May 19, 2016</a:t>
            </a:r>
          </a:p>
          <a:p>
            <a:r>
              <a:rPr kumimoji="0" lang="en-US" dirty="0"/>
              <a:t>Revised June 25, 2016</a:t>
            </a:r>
          </a:p>
        </p:txBody>
      </p:sp>
      <p:sp>
        <p:nvSpPr>
          <p:cNvPr id="30" name="Date Placeholder 2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8/9/2017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>
              <a:solidFill>
                <a:schemeClr val="accent1">
                  <a:tint val="20000"/>
                </a:schemeClr>
              </a:solidFill>
            </a:endParaRPr>
          </a:p>
        </p:txBody>
      </p:sp>
      <p:sp>
        <p:nvSpPr>
          <p:cNvPr id="27" name="Slide Number Placeholder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>
              <a:solidFill>
                <a:srgbClr val="FFFFFF"/>
              </a:solidFill>
            </a:endParaRP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hf hdr="0" ftr="0" dt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8/9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2589381218"/>
      </p:ext>
    </p:extLst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1316736"/>
            <a:ext cx="7772400" cy="1362456"/>
          </a:xfrm>
          <a:ln>
            <a:noFill/>
          </a:ln>
        </p:spPr>
        <p:txBody>
          <a:bodyPr vert="horz" tIns="0" bIns="0" anchor="b">
            <a:no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</a:sp3d>
          </a:bodyPr>
          <a:lstStyle>
            <a:lvl1pPr algn="l" rtl="0">
              <a:spcBef>
                <a:spcPct val="0"/>
              </a:spcBef>
              <a:buNone/>
              <a:defRPr lang="en-US" sz="5600" b="1" cap="none" baseline="0" dirty="0">
                <a:ln w="635">
                  <a:noFill/>
                </a:ln>
                <a:solidFill>
                  <a:schemeClr val="accent4">
                    <a:tint val="90000"/>
                    <a:satMod val="125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0352" y="2704664"/>
            <a:ext cx="7772400" cy="1509712"/>
          </a:xfrm>
        </p:spPr>
        <p:txBody>
          <a:bodyPr lIns="45720" rIns="45720" anchor="t"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8/9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hf hdr="0" ftr="0" dt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1143000"/>
          </a:xfrm>
        </p:spPr>
        <p:txBody>
          <a:bodyPr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920085"/>
            <a:ext cx="4038600" cy="443484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20085"/>
            <a:ext cx="4038600" cy="443484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8/9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/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1143000"/>
          </a:xfrm>
        </p:spPr>
        <p:txBody>
          <a:bodyPr tIns="45720" anchor="b"/>
          <a:lstStyle>
            <a:lvl1pPr>
              <a:defRPr/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855248"/>
            <a:ext cx="4040188" cy="659352"/>
          </a:xfrm>
        </p:spPr>
        <p:txBody>
          <a:bodyPr lIns="45720" tIns="0" rIns="45720" bIns="0" anchor="ctr">
            <a:noAutofit/>
          </a:bodyPr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45025" y="1859757"/>
            <a:ext cx="4041775" cy="654843"/>
          </a:xfrm>
        </p:spPr>
        <p:txBody>
          <a:bodyPr lIns="45720" tIns="0" rIns="45720" bIns="0" anchor="ctr"/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2514600"/>
            <a:ext cx="4040188" cy="3845720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514600"/>
            <a:ext cx="4041775" cy="3845720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8/9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/>
          </a:p>
        </p:txBody>
      </p:sp>
    </p:spTree>
  </p:cSld>
  <p:clrMapOvr>
    <a:masterClrMapping/>
  </p:clrMapOvr>
  <p:hf hdr="0" ftr="0" dt="0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305800" cy="1143000"/>
          </a:xfrm>
        </p:spPr>
        <p:txBody>
          <a:bodyPr vert="horz" tIns="45720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contourClr>
                <a:schemeClr val="tx2"/>
              </a:contourClr>
            </a:sp3d>
          </a:bodyPr>
          <a:lstStyle>
            <a:lvl1pPr algn="l" rtl="0">
              <a:spcBef>
                <a:spcPct val="0"/>
              </a:spcBef>
              <a:buNone/>
              <a:defRPr sz="50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8/9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/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8/9/2017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/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514352"/>
            <a:ext cx="2743200" cy="1162050"/>
          </a:xfrm>
        </p:spPr>
        <p:txBody>
          <a:bodyPr lIns="0" anchor="b">
            <a:noAutofit/>
          </a:bodyPr>
          <a:lstStyle>
            <a:lvl1pPr algn="l" rtl="0">
              <a:spcBef>
                <a:spcPct val="0"/>
              </a:spcBef>
              <a:buNone/>
              <a:defRPr sz="26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685800" y="1676400"/>
            <a:ext cx="2743200" cy="4572000"/>
          </a:xfrm>
        </p:spPr>
        <p:txBody>
          <a:bodyPr lIns="18288" rIns="18288"/>
          <a:lstStyle>
            <a:lvl1pPr marL="0" indent="0" algn="l">
              <a:buNone/>
              <a:defRPr sz="1400"/>
            </a:lvl1pPr>
            <a:lvl2pPr indent="0" algn="l">
              <a:buNone/>
              <a:defRPr sz="1200"/>
            </a:lvl2pPr>
            <a:lvl3pPr indent="0" algn="l">
              <a:buNone/>
              <a:defRPr sz="1000"/>
            </a:lvl3pPr>
            <a:lvl4pPr indent="0" algn="l">
              <a:buNone/>
              <a:defRPr sz="900"/>
            </a:lvl4pPr>
            <a:lvl5pPr indent="0" algn="l">
              <a:buNone/>
              <a:defRPr sz="900"/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3575050" y="1676400"/>
            <a:ext cx="5111750" cy="4572000"/>
          </a:xfrm>
        </p:spPr>
        <p:txBody>
          <a:bodyPr tIns="0"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8/9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/>
          </a:p>
        </p:txBody>
      </p:sp>
    </p:spTree>
  </p:cSld>
  <p:clrMapOvr>
    <a:masterClrMapping/>
  </p:clrMapOvr>
  <p:hf hdr="0" ftr="0" dt="0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nip and Round Single Corner Rectangle 8"/>
          <p:cNvSpPr/>
          <p:nvPr/>
        </p:nvSpPr>
        <p:spPr>
          <a:xfrm rot="420000" flipV="1">
            <a:off x="3165753" y="1108077"/>
            <a:ext cx="5257800" cy="4114800"/>
          </a:xfrm>
          <a:prstGeom prst="snipRoundRect">
            <a:avLst>
              <a:gd name="adj1" fmla="val 0"/>
              <a:gd name="adj2" fmla="val 3646"/>
            </a:avLst>
          </a:prstGeom>
          <a:solidFill>
            <a:srgbClr val="FFFFFF"/>
          </a:solidFill>
          <a:ln w="3175" cap="rnd" cmpd="sng" algn="ctr">
            <a:solidFill>
              <a:srgbClr val="C0C0C0"/>
            </a:solidFill>
            <a:prstDash val="solid"/>
          </a:ln>
          <a:effectLst>
            <a:outerShdw blurRad="63500" dist="38500" dir="7500000" sx="98500" sy="100080" kx="100000" algn="tl" rotWithShape="0">
              <a:srgbClr val="000000">
                <a:alpha val="25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12" name="Right Triangle 11"/>
          <p:cNvSpPr/>
          <p:nvPr/>
        </p:nvSpPr>
        <p:spPr>
          <a:xfrm rot="420000" flipV="1">
            <a:off x="8004134" y="5359769"/>
            <a:ext cx="155448" cy="155448"/>
          </a:xfrm>
          <a:prstGeom prst="rtTriangle">
            <a:avLst/>
          </a:prstGeom>
          <a:solidFill>
            <a:srgbClr val="FFFFFF"/>
          </a:solidFill>
          <a:ln w="12700" cap="flat" cmpd="sng" algn="ctr">
            <a:solidFill>
              <a:srgbClr val="FFFFFF"/>
            </a:solidFill>
            <a:prstDash val="solid"/>
            <a:bevel/>
          </a:ln>
          <a:effectLst>
            <a:outerShdw blurRad="19685" dist="6350" dir="12900000" algn="tl" rotWithShape="0">
              <a:srgbClr val="000000">
                <a:alpha val="47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176996"/>
            <a:ext cx="2212848" cy="1582621"/>
          </a:xfrm>
        </p:spPr>
        <p:txBody>
          <a:bodyPr vert="horz" lIns="45720" tIns="45720" rIns="45720" bIns="45720" anchor="b"/>
          <a:lstStyle>
            <a:lvl1pPr algn="l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2828785"/>
            <a:ext cx="2209800" cy="2179320"/>
          </a:xfrm>
        </p:spPr>
        <p:txBody>
          <a:bodyPr lIns="64008" rIns="45720" bIns="45720" anchor="t"/>
          <a:lstStyle>
            <a:lvl1pPr marL="0" indent="0" algn="l">
              <a:spcBef>
                <a:spcPts val="250"/>
              </a:spcBef>
              <a:buFontTx/>
              <a:buNone/>
              <a:defRPr sz="13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8/9/2017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>
              <a:solidFill>
                <a:schemeClr val="tx1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077200" y="6356350"/>
            <a:ext cx="609600" cy="365125"/>
          </a:xfrm>
        </p:spPr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>
              <a:solidFill>
                <a:schemeClr val="tx1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 rot="420000">
            <a:off x="3485793" y="1199517"/>
            <a:ext cx="4617720" cy="3931920"/>
          </a:xfrm>
          <a:prstGeom prst="rect">
            <a:avLst/>
          </a:prstGeom>
          <a:solidFill>
            <a:schemeClr val="bg2"/>
          </a:solidFill>
          <a:ln w="3000" cap="rnd">
            <a:solidFill>
              <a:srgbClr val="C0C0C0"/>
            </a:solidFill>
            <a:round/>
          </a:ln>
          <a:effectLst/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en-US" dirty="0"/>
              <a:t>Click icon to add picture</a:t>
            </a:r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 flipV="1">
            <a:off x="-9525" y="5816600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Freeform 10"/>
          <p:cNvSpPr>
            <a:spLocks/>
          </p:cNvSpPr>
          <p:nvPr/>
        </p:nvSpPr>
        <p:spPr bwMode="auto">
          <a:xfrm flipV="1">
            <a:off x="4381500" y="6219825"/>
            <a:ext cx="47625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ftr="0" dt="0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8/9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/>
          </a:p>
        </p:txBody>
      </p:sp>
    </p:spTree>
  </p:cSld>
  <p:clrMapOvr>
    <a:masterClrMapping/>
  </p:clrMapOvr>
  <p:hf hdr="0" ftr="0" dt="0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914401"/>
            <a:ext cx="2057400" cy="5211763"/>
          </a:xfrm>
        </p:spPr>
        <p:txBody>
          <a:bodyPr vert="eaVert"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914401"/>
            <a:ext cx="6019800" cy="5211763"/>
          </a:xfrm>
        </p:spPr>
        <p:txBody>
          <a:bodyPr vert="eaVert"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8/9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/>
          </a:p>
        </p:txBody>
      </p:sp>
    </p:spTree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3" Type="http://schemas.openxmlformats.org/officeDocument/2006/relationships/slideLayout" Target="../slideLayouts/slideLayout77.xml"/><Relationship Id="rId7" Type="http://schemas.openxmlformats.org/officeDocument/2006/relationships/vmlDrawing" Target="../drawings/vmlDrawing22.v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79.xml"/><Relationship Id="rId10" Type="http://schemas.openxmlformats.org/officeDocument/2006/relationships/image" Target="../media/image3.emf"/><Relationship Id="rId4" Type="http://schemas.openxmlformats.org/officeDocument/2006/relationships/slideLayout" Target="../slideLayouts/slideLayout78.xml"/><Relationship Id="rId9" Type="http://schemas.openxmlformats.org/officeDocument/2006/relationships/oleObject" Target="../embeddings/oleObject22.bin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1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84.xml"/><Relationship Id="rId10" Type="http://schemas.openxmlformats.org/officeDocument/2006/relationships/tags" Target="../tags/tag39.xml"/><Relationship Id="rId4" Type="http://schemas.openxmlformats.org/officeDocument/2006/relationships/slideLayout" Target="../slideLayouts/slideLayout83.xml"/><Relationship Id="rId9" Type="http://schemas.openxmlformats.org/officeDocument/2006/relationships/tags" Target="../tags/tag38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theme" Target="../theme/theme12.xml"/><Relationship Id="rId3" Type="http://schemas.openxmlformats.org/officeDocument/2006/relationships/slideLayout" Target="../slideLayouts/slideLayout89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5" Type="http://schemas.openxmlformats.org/officeDocument/2006/relationships/slideLayout" Target="../slideLayouts/slideLayout91.xml"/><Relationship Id="rId10" Type="http://schemas.openxmlformats.org/officeDocument/2006/relationships/slideLayout" Target="../slideLayouts/slideLayout96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28.xml"/><Relationship Id="rId10" Type="http://schemas.openxmlformats.org/officeDocument/2006/relationships/tags" Target="../tags/tag10.xml"/><Relationship Id="rId4" Type="http://schemas.openxmlformats.org/officeDocument/2006/relationships/slideLayout" Target="../slideLayouts/slideLayout27.xml"/><Relationship Id="rId9" Type="http://schemas.openxmlformats.org/officeDocument/2006/relationships/tags" Target="../tags/tag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35.xml"/><Relationship Id="rId10" Type="http://schemas.openxmlformats.org/officeDocument/2006/relationships/tags" Target="../tags/tag12.xml"/><Relationship Id="rId4" Type="http://schemas.openxmlformats.org/officeDocument/2006/relationships/slideLayout" Target="../slideLayouts/slideLayout34.xml"/><Relationship Id="rId9" Type="http://schemas.openxmlformats.org/officeDocument/2006/relationships/tags" Target="../tags/tag1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ags" Target="../tags/tag14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tags" Target="../tags/tag13.xml"/><Relationship Id="rId5" Type="http://schemas.openxmlformats.org/officeDocument/2006/relationships/slideLayout" Target="../slideLayouts/slideLayout42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63.xml"/><Relationship Id="rId7" Type="http://schemas.openxmlformats.org/officeDocument/2006/relationships/tags" Target="../tags/tag17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64.xml"/><Relationship Id="rId9" Type="http://schemas.openxmlformats.org/officeDocument/2006/relationships/image" Target="../media/image3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slideLayout" Target="../slideLayouts/slideLayout67.xml"/><Relationship Id="rId7" Type="http://schemas.openxmlformats.org/officeDocument/2006/relationships/vmlDrawing" Target="../drawings/vmlDrawing11.v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69.xml"/><Relationship Id="rId10" Type="http://schemas.openxmlformats.org/officeDocument/2006/relationships/image" Target="../media/image3.emf"/><Relationship Id="rId4" Type="http://schemas.openxmlformats.org/officeDocument/2006/relationships/slideLayout" Target="../slideLayouts/slideLayout68.xml"/><Relationship Id="rId9" Type="http://schemas.openxmlformats.org/officeDocument/2006/relationships/oleObject" Target="../embeddings/oleObject11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3" Type="http://schemas.openxmlformats.org/officeDocument/2006/relationships/slideLayout" Target="../slideLayouts/slideLayout72.xml"/><Relationship Id="rId7" Type="http://schemas.openxmlformats.org/officeDocument/2006/relationships/vmlDrawing" Target="../drawings/vmlDrawing17.v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74.xml"/><Relationship Id="rId10" Type="http://schemas.openxmlformats.org/officeDocument/2006/relationships/image" Target="../media/image3.emf"/><Relationship Id="rId4" Type="http://schemas.openxmlformats.org/officeDocument/2006/relationships/slideLayout" Target="../slideLayouts/slideLayout73.xml"/><Relationship Id="rId9" Type="http://schemas.openxmlformats.org/officeDocument/2006/relationships/oleObject" Target="../embeddings/oleObject17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top blue"/>
          <p:cNvPicPr>
            <a:picLocks noChangeAspect="1" noChangeArrowheads="1"/>
          </p:cNvPicPr>
          <p:nvPr/>
        </p:nvPicPr>
        <p:blipFill>
          <a:blip r:embed="rId16"/>
          <a:srcRect l="23065"/>
          <a:stretch>
            <a:fillRect/>
          </a:stretch>
        </p:blipFill>
        <p:spPr bwMode="auto">
          <a:xfrm>
            <a:off x="0" y="0"/>
            <a:ext cx="9150350" cy="930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white">
          <a:xfrm>
            <a:off x="736600" y="109538"/>
            <a:ext cx="5664200" cy="762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3400" y="1219200"/>
            <a:ext cx="8153400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46038" rIns="45720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3"/>
            <a:r>
              <a:rPr lang="en-US" altLang="en-US"/>
              <a:t>Third level</a:t>
            </a:r>
          </a:p>
        </p:txBody>
      </p:sp>
      <p:sp>
        <p:nvSpPr>
          <p:cNvPr id="3198981" name="Line 5"/>
          <p:cNvSpPr>
            <a:spLocks noChangeShapeType="1"/>
          </p:cNvSpPr>
          <p:nvPr/>
        </p:nvSpPr>
        <p:spPr bwMode="auto">
          <a:xfrm>
            <a:off x="-17463" y="6856413"/>
            <a:ext cx="9161463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lIns="45720" rIns="4572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1030" name="Picture 6" descr="best ver2b seal"/>
          <p:cNvPicPr>
            <a:picLocks noChangeAspect="1" noChangeArrowheads="1"/>
          </p:cNvPicPr>
          <p:nvPr/>
        </p:nvPicPr>
        <p:blipFill>
          <a:blip r:embed="rId17">
            <a:clrChange>
              <a:clrFrom>
                <a:srgbClr val="003264"/>
              </a:clrFrom>
              <a:clrTo>
                <a:srgbClr val="003264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5400" y="157163"/>
            <a:ext cx="762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98985" name="Text Box 9"/>
          <p:cNvSpPr txBox="1">
            <a:spLocks noChangeArrowheads="1"/>
          </p:cNvSpPr>
          <p:nvPr/>
        </p:nvSpPr>
        <p:spPr bwMode="auto">
          <a:xfrm>
            <a:off x="4038600" y="6613525"/>
            <a:ext cx="10668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45720" rIns="4572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fld id="{74C11B1E-D27A-4545-9113-CFB59631C2EA}" type="slidenum">
              <a:rPr lang="en-US" sz="1000">
                <a:solidFill>
                  <a:srgbClr val="000000"/>
                </a:solidFill>
              </a:rPr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198987" name="AcnSubjectTitle_ID_3198987" hidden="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836613" y="1420813"/>
            <a:ext cx="698500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600" b="1" dirty="0">
                <a:solidFill>
                  <a:srgbClr val="000000"/>
                </a:solidFill>
              </a:rPr>
              <a:t>Subject Title</a:t>
            </a:r>
          </a:p>
        </p:txBody>
      </p:sp>
      <p:sp>
        <p:nvSpPr>
          <p:cNvPr id="3198988" name="AcnFootnote_ID_3198988" hidden="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836613" y="6254750"/>
            <a:ext cx="5564187" cy="334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538163" indent="-5381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*	Footnote</a:t>
            </a:r>
          </a:p>
          <a:p>
            <a:pPr marL="538163" indent="-538163" fontAlgn="base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Source:	Source</a:t>
            </a:r>
          </a:p>
        </p:txBody>
      </p:sp>
    </p:spTree>
    <p:extLst>
      <p:ext uri="{BB962C8B-B14F-4D97-AF65-F5344CB8AC3E}">
        <p14:creationId xmlns:p14="http://schemas.microsoft.com/office/powerpoint/2010/main" val="1838582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60" r:id="rId7"/>
    <p:sldLayoutId id="2147483650" r:id="rId8"/>
    <p:sldLayoutId id="2147483654" r:id="rId9"/>
    <p:sldLayoutId id="2147483655" r:id="rId10"/>
    <p:sldLayoutId id="2147483661" r:id="rId11"/>
    <p:sldLayoutId id="2147483662" r:id="rId12"/>
  </p:sldLayoutIdLst>
  <p:transition/>
  <p:txStyles>
    <p:titleStyle>
      <a:lvl1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2pPr>
      <a:lvl3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3pPr>
      <a:lvl4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4pPr>
      <a:lvl5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5pPr>
      <a:lvl6pPr marL="4572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6pPr>
      <a:lvl7pPr marL="9144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7pPr>
      <a:lvl8pPr marL="13716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8pPr>
      <a:lvl9pPr marL="18288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9pPr>
    </p:titleStyle>
    <p:bodyStyle>
      <a:lvl1pPr marL="381000" indent="-381000" algn="l" rtl="0" eaLnBrk="1" fontAlgn="base" hangingPunct="1">
        <a:spcBef>
          <a:spcPct val="0"/>
        </a:spcBef>
        <a:spcAft>
          <a:spcPts val="1200"/>
        </a:spcAft>
        <a:buClr>
          <a:srgbClr val="FFC000"/>
        </a:buClr>
        <a:buSzPct val="80000"/>
        <a:buFont typeface="Wingdings" pitchFamily="2" charset="2"/>
        <a:buChar char="n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1pPr>
      <a:lvl2pPr marL="568325" indent="-222250" algn="l" rtl="0" eaLnBrk="1" fontAlgn="base" hangingPunct="1">
        <a:spcBef>
          <a:spcPct val="0"/>
        </a:spcBef>
        <a:spcAft>
          <a:spcPts val="1200"/>
        </a:spcAft>
        <a:buClr>
          <a:srgbClr val="FFC000"/>
        </a:buClr>
        <a:buSzPct val="115000"/>
        <a:buFont typeface="Calibri" pitchFamily="34" charset="0"/>
        <a:buChar char="•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marL="739775" indent="-3429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AutoNum type="alphaUcPeriod"/>
        <a:defRPr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3pPr>
      <a:lvl4pPr marL="914400" indent="-346075" algn="l" rtl="0" eaLnBrk="1" fontAlgn="base" hangingPunct="1">
        <a:spcBef>
          <a:spcPct val="0"/>
        </a:spcBef>
        <a:spcAft>
          <a:spcPts val="1200"/>
        </a:spcAft>
        <a:buClr>
          <a:srgbClr val="FFC000"/>
        </a:buClr>
        <a:buFont typeface="Symbol" pitchFamily="18" charset="2"/>
        <a:buChar char="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marL="1333500" indent="-30480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Char char="–"/>
        <a:defRPr sz="1600"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17907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6pPr>
      <a:lvl7pPr marL="22479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7pPr>
      <a:lvl8pPr marL="27051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8pPr>
      <a:lvl9pPr marL="31623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7535085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457200" y="914400"/>
            <a:ext cx="8229600" cy="45719"/>
          </a:xfrm>
          <a:prstGeom prst="rect">
            <a:avLst/>
          </a:prstGeom>
          <a:solidFill>
            <a:srgbClr val="DDA037"/>
          </a:solidFill>
          <a:ln w="12700" algn="in">
            <a:solidFill>
              <a:srgbClr val="DDA037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781800" y="6627912"/>
            <a:ext cx="228600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C2D83"/>
                </a:solidFill>
                <a:cs typeface="Arial" panose="020B0604020202020204" pitchFamily="34" charset="0"/>
              </a:rPr>
              <a:t>Health Policy  Commission | </a:t>
            </a:r>
            <a:fld id="{A5227E9D-7D62-4008-BFCE-C7B8B3FEB975}" type="slidenum">
              <a:rPr lang="en-US" sz="1000" smtClean="0">
                <a:solidFill>
                  <a:srgbClr val="0C2D83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000" dirty="0">
              <a:solidFill>
                <a:srgbClr val="0C2D83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46973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</p:sldLayoutIdLst>
  <p:txStyles>
    <p:titleStyle>
      <a:lvl1pPr algn="ctr" defTabSz="914012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754" indent="-342754" algn="l" defTabSz="914012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636" indent="-285630" algn="l" defTabSz="914012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515" indent="-228502" algn="l" defTabSz="914012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521" indent="-228502" algn="l" defTabSz="914012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528" indent="-228502" algn="l" defTabSz="914012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534" indent="-228502" algn="l" defTabSz="91401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540" indent="-228502" algn="l" defTabSz="91401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547" indent="-228502" algn="l" defTabSz="91401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552" indent="-228502" algn="l" defTabSz="91401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0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1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25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3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037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044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05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top blue"/>
          <p:cNvPicPr>
            <a:picLocks noChangeAspect="1" noChangeArrowheads="1"/>
          </p:cNvPicPr>
          <p:nvPr/>
        </p:nvPicPr>
        <p:blipFill>
          <a:blip r:embed="rId11"/>
          <a:srcRect l="23065"/>
          <a:stretch>
            <a:fillRect/>
          </a:stretch>
        </p:blipFill>
        <p:spPr bwMode="auto">
          <a:xfrm>
            <a:off x="0" y="0"/>
            <a:ext cx="9150350" cy="930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1" name="Rectangle 3"/>
          <p:cNvSpPr>
            <a:spLocks noGrp="1" noChangeArrowheads="1"/>
          </p:cNvSpPr>
          <p:nvPr>
            <p:ph type="title"/>
          </p:nvPr>
        </p:nvSpPr>
        <p:spPr bwMode="white">
          <a:xfrm>
            <a:off x="736600" y="109538"/>
            <a:ext cx="5664200" cy="762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3400" y="1219200"/>
            <a:ext cx="8153400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46038" rIns="45720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3"/>
            <a:r>
              <a:rPr lang="en-US" altLang="en-US"/>
              <a:t>Third level</a:t>
            </a:r>
          </a:p>
        </p:txBody>
      </p:sp>
      <p:sp>
        <p:nvSpPr>
          <p:cNvPr id="3198981" name="Line 5"/>
          <p:cNvSpPr>
            <a:spLocks noChangeShapeType="1"/>
          </p:cNvSpPr>
          <p:nvPr/>
        </p:nvSpPr>
        <p:spPr bwMode="auto">
          <a:xfrm>
            <a:off x="-17463" y="6856413"/>
            <a:ext cx="9161463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lIns="45720" rIns="4572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7174" name="Picture 6" descr="best ver2b seal"/>
          <p:cNvPicPr>
            <a:picLocks noChangeAspect="1" noChangeArrowheads="1"/>
          </p:cNvPicPr>
          <p:nvPr/>
        </p:nvPicPr>
        <p:blipFill>
          <a:blip r:embed="rId12">
            <a:clrChange>
              <a:clrFrom>
                <a:srgbClr val="003264"/>
              </a:clrFrom>
              <a:clrTo>
                <a:srgbClr val="003264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5400" y="157163"/>
            <a:ext cx="762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98987" name="AcnSubjectTitle_ID_3198987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836613" y="1420813"/>
            <a:ext cx="698500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600" b="1" dirty="0">
                <a:solidFill>
                  <a:srgbClr val="000000"/>
                </a:solidFill>
              </a:rPr>
              <a:t>Subject Title</a:t>
            </a:r>
          </a:p>
        </p:txBody>
      </p:sp>
      <p:sp>
        <p:nvSpPr>
          <p:cNvPr id="3198988" name="AcnFootnote_ID_3198988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36613" y="6254750"/>
            <a:ext cx="5564187" cy="334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538163" indent="-5381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*	Footnote</a:t>
            </a:r>
          </a:p>
          <a:p>
            <a:pPr marL="538163" indent="-538163" fontAlgn="base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Source:	Source</a:t>
            </a: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4038600" y="6445250"/>
            <a:ext cx="10668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45720" rIns="4572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fld id="{6675420D-CD84-4F3B-B8B6-EF0F67C2EF0E}" type="slidenum">
              <a:rPr lang="en-US" sz="1000">
                <a:solidFill>
                  <a:srgbClr val="000000"/>
                </a:solidFill>
              </a:rPr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2858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</p:sldLayoutIdLst>
  <p:transition/>
  <p:hf sldNum="0" hdr="0" dt="0"/>
  <p:txStyles>
    <p:titleStyle>
      <a:lvl1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2pPr>
      <a:lvl3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3pPr>
      <a:lvl4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4pPr>
      <a:lvl5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5pPr>
      <a:lvl6pPr marL="4572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6pPr>
      <a:lvl7pPr marL="9144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7pPr>
      <a:lvl8pPr marL="13716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8pPr>
      <a:lvl9pPr marL="18288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9pPr>
    </p:titleStyle>
    <p:bodyStyle>
      <a:lvl1pPr marL="381000" indent="-381000" algn="l" rtl="0" eaLnBrk="1" fontAlgn="base" hangingPunct="1">
        <a:spcBef>
          <a:spcPct val="0"/>
        </a:spcBef>
        <a:spcAft>
          <a:spcPts val="1200"/>
        </a:spcAft>
        <a:buClr>
          <a:srgbClr val="FFC000"/>
        </a:buClr>
        <a:buSzPct val="80000"/>
        <a:buFont typeface="Wingdings" pitchFamily="2" charset="2"/>
        <a:buChar char="n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1pPr>
      <a:lvl2pPr marL="568325" indent="-222250" algn="l" rtl="0" eaLnBrk="1" fontAlgn="base" hangingPunct="1">
        <a:spcBef>
          <a:spcPct val="0"/>
        </a:spcBef>
        <a:spcAft>
          <a:spcPts val="1200"/>
        </a:spcAft>
        <a:buClr>
          <a:srgbClr val="FFC000"/>
        </a:buClr>
        <a:buSzPct val="115000"/>
        <a:buFont typeface="Calibri" pitchFamily="34" charset="0"/>
        <a:buChar char="•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marL="739775" indent="-3429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AutoNum type="alphaUcPeriod"/>
        <a:defRPr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3pPr>
      <a:lvl4pPr marL="914400" indent="-346075" algn="l" rtl="0" eaLnBrk="1" fontAlgn="base" hangingPunct="1">
        <a:spcBef>
          <a:spcPct val="0"/>
        </a:spcBef>
        <a:spcAft>
          <a:spcPts val="1200"/>
        </a:spcAft>
        <a:buClr>
          <a:srgbClr val="FFC000"/>
        </a:buClr>
        <a:buFont typeface="Symbol" pitchFamily="18" charset="2"/>
        <a:buChar char="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marL="1333500" indent="-30480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Char char="–"/>
        <a:defRPr sz="1600"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17907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6pPr>
      <a:lvl7pPr marL="22479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7pPr>
      <a:lvl8pPr marL="27051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8pPr>
      <a:lvl9pPr marL="31623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>
            <a:spLocks/>
          </p:cNvSpPr>
          <p:nvPr/>
        </p:nvSpPr>
        <p:spPr bwMode="auto">
          <a:xfrm>
            <a:off x="-9525" y="-7144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4381500" y="-7144"/>
            <a:ext cx="47625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1143000"/>
          </a:xfrm>
          <a:prstGeom prst="rect">
            <a:avLst/>
          </a:prstGeom>
        </p:spPr>
        <p:txBody>
          <a:bodyPr vert="horz" lIns="0" rIns="0" bIns="0" anchor="b">
            <a:normAutofit/>
          </a:bodyPr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idx="1"/>
          </p:nvPr>
        </p:nvSpPr>
        <p:spPr>
          <a:xfrm>
            <a:off x="457200" y="1935480"/>
            <a:ext cx="8229600" cy="438912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n-US"/>
              <a:t>Click to edit Master text styles</a:t>
            </a:r>
          </a:p>
          <a:p>
            <a:pPr lvl="1" eaLnBrk="1" latinLnBrk="0" hangingPunct="1"/>
            <a:r>
              <a:rPr kumimoji="0" lang="en-US"/>
              <a:t>Second level</a:t>
            </a:r>
          </a:p>
          <a:p>
            <a:pPr lvl="2" eaLnBrk="1" latinLnBrk="0" hangingPunct="1"/>
            <a:r>
              <a:rPr kumimoji="0" lang="en-US"/>
              <a:t>Third level</a:t>
            </a:r>
          </a:p>
          <a:p>
            <a:pPr lvl="3" eaLnBrk="1" latinLnBrk="0" hangingPunct="1"/>
            <a:r>
              <a:rPr kumimoji="0" lang="en-US"/>
              <a:t>Fourth level</a:t>
            </a:r>
          </a:p>
          <a:p>
            <a:pPr lvl="4" eaLnBrk="1" latinLnBrk="0" hangingPunct="1"/>
            <a:r>
              <a:rPr kumimoji="0" lang="en-US"/>
              <a:t>Fifth level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fld id="{0EAB0777-4C60-462E-A92C-CDAFD498799C}" type="datetimeFigureOut">
              <a:rPr lang="en-US" smtClean="0"/>
              <a:t>8/9/2017</a:t>
            </a:fld>
            <a:endParaRPr lang="en-US" dirty="0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3"/>
          </p:nvPr>
        </p:nvSpPr>
        <p:spPr>
          <a:xfrm>
            <a:off x="2667000" y="6356350"/>
            <a:ext cx="33528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7924800" y="6356350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fld id="{59DE6EB8-52AB-45EA-A660-3E1EBFA72987}" type="slidenum">
              <a:rPr lang="en-US" smtClean="0"/>
              <a:t>‹#›</a:t>
            </a:fld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-19017" y="202408"/>
            <a:ext cx="9180548" cy="649224"/>
            <a:chOff x="-19045" y="216550"/>
            <a:chExt cx="9180548" cy="649224"/>
          </a:xfrm>
        </p:grpSpPr>
        <p:sp>
          <p:nvSpPr>
            <p:cNvPr id="12" name="Freeform 11"/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 dirty="0"/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3820" r:id="rId10"/>
    <p:sldLayoutId id="2147483821" r:id="rId11"/>
    <p:sldLayoutId id="2147483822" r:id="rId12"/>
  </p:sldLayoutIdLst>
  <p:hf hdr="0" ftr="0" dt="0"/>
  <p:txStyles>
    <p:titleStyle>
      <a:lvl1pPr algn="l" rtl="0" eaLnBrk="1" latinLnBrk="0" hangingPunct="1">
        <a:spcBef>
          <a:spcPct val="0"/>
        </a:spcBef>
        <a:buNone/>
        <a:defRPr kumimoji="0" sz="5000" b="0" kern="1200">
          <a:ln>
            <a:noFill/>
          </a:ln>
          <a:solidFill>
            <a:schemeClr val="tx2"/>
          </a:solidFill>
          <a:effectLst/>
          <a:latin typeface="+mj-lt"/>
          <a:ea typeface="+mj-ea"/>
          <a:cs typeface="+mj-cs"/>
        </a:defRPr>
      </a:lvl1pPr>
    </p:titleStyle>
    <p:bodyStyle>
      <a:lvl1pPr marL="274320" indent="-274320" algn="l" rtl="0" eaLnBrk="1" latinLnBrk="0" hangingPunct="1">
        <a:spcBef>
          <a:spcPct val="20000"/>
        </a:spcBef>
        <a:buClr>
          <a:schemeClr val="accent3"/>
        </a:buClr>
        <a:buSzPct val="95000"/>
        <a:buFont typeface="Wingdings 2"/>
        <a:buChar char="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46888" algn="l" rtl="0" eaLnBrk="1" latinLnBrk="0" hangingPunct="1">
        <a:spcBef>
          <a:spcPct val="20000"/>
        </a:spcBef>
        <a:buClr>
          <a:schemeClr val="accent1"/>
        </a:buClr>
        <a:buSzPct val="85000"/>
        <a:buFont typeface="Wingdings 2"/>
        <a:buChar char="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46888" algn="l" rtl="0" eaLnBrk="1" latinLnBrk="0" hangingPunct="1">
        <a:spcBef>
          <a:spcPct val="20000"/>
        </a:spcBef>
        <a:buClr>
          <a:schemeClr val="accent2"/>
        </a:buClr>
        <a:buSzPct val="70000"/>
        <a:buFont typeface="Wingdings 2"/>
        <a:buChar char="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88720" indent="-210312" algn="l" rtl="0" eaLnBrk="1" latinLnBrk="0" hangingPunct="1">
        <a:spcBef>
          <a:spcPct val="20000"/>
        </a:spcBef>
        <a:buClr>
          <a:schemeClr val="accent3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63040" indent="-210312" algn="l" rtl="0" eaLnBrk="1" latinLnBrk="0" hangingPunct="1">
        <a:spcBef>
          <a:spcPct val="20000"/>
        </a:spcBef>
        <a:buClr>
          <a:schemeClr val="accent4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37360" indent="-210312" algn="l" rtl="0" eaLnBrk="1" latinLnBrk="0" hangingPunct="1">
        <a:spcBef>
          <a:spcPct val="20000"/>
        </a:spcBef>
        <a:buClr>
          <a:schemeClr val="accent5"/>
        </a:buClr>
        <a:buSzPct val="80000"/>
        <a:buFont typeface="Wingdings 2"/>
        <a:buChar char="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94560" indent="-182880" algn="l" rtl="0" eaLnBrk="1" latinLnBrk="0" hangingPunct="1">
        <a:spcBef>
          <a:spcPct val="20000"/>
        </a:spcBef>
        <a:buClr>
          <a:schemeClr val="tx2"/>
        </a:buClr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indent="-182880" algn="l" rtl="0" eaLnBrk="1" latinLnBrk="0" hangingPunct="1">
        <a:spcBef>
          <a:spcPct val="20000"/>
        </a:spcBef>
        <a:buClr>
          <a:schemeClr val="tx2"/>
        </a:buClr>
        <a:buFontTx/>
        <a:buChar char="•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top blue"/>
          <p:cNvPicPr>
            <a:picLocks noChangeAspect="1" noChangeArrowheads="1"/>
          </p:cNvPicPr>
          <p:nvPr/>
        </p:nvPicPr>
        <p:blipFill>
          <a:blip r:embed="rId15"/>
          <a:srcRect l="23065"/>
          <a:stretch>
            <a:fillRect/>
          </a:stretch>
        </p:blipFill>
        <p:spPr bwMode="auto">
          <a:xfrm>
            <a:off x="0" y="0"/>
            <a:ext cx="9150350" cy="930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1" name="Rectangle 3"/>
          <p:cNvSpPr>
            <a:spLocks noGrp="1" noChangeArrowheads="1"/>
          </p:cNvSpPr>
          <p:nvPr>
            <p:ph type="title"/>
          </p:nvPr>
        </p:nvSpPr>
        <p:spPr bwMode="white">
          <a:xfrm>
            <a:off x="736600" y="109538"/>
            <a:ext cx="5664200" cy="762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3400" y="1219200"/>
            <a:ext cx="8153400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46038" rIns="45720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3"/>
            <a:r>
              <a:rPr lang="en-US" altLang="en-US"/>
              <a:t>Third level</a:t>
            </a:r>
          </a:p>
        </p:txBody>
      </p:sp>
      <p:sp>
        <p:nvSpPr>
          <p:cNvPr id="3198981" name="Line 5"/>
          <p:cNvSpPr>
            <a:spLocks noChangeShapeType="1"/>
          </p:cNvSpPr>
          <p:nvPr/>
        </p:nvSpPr>
        <p:spPr bwMode="auto">
          <a:xfrm>
            <a:off x="-17463" y="6856413"/>
            <a:ext cx="9161463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lIns="45720" rIns="4572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7174" name="Picture 6" descr="best ver2b seal"/>
          <p:cNvPicPr>
            <a:picLocks noChangeAspect="1" noChangeArrowheads="1"/>
          </p:cNvPicPr>
          <p:nvPr/>
        </p:nvPicPr>
        <p:blipFill>
          <a:blip r:embed="rId16">
            <a:clrChange>
              <a:clrFrom>
                <a:srgbClr val="003264"/>
              </a:clrFrom>
              <a:clrTo>
                <a:srgbClr val="003264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5400" y="157163"/>
            <a:ext cx="762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98987" name="AcnSubjectTitle_ID_3198987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836613" y="1420813"/>
            <a:ext cx="698500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600" b="1" dirty="0">
                <a:solidFill>
                  <a:srgbClr val="000000"/>
                </a:solidFill>
              </a:rPr>
              <a:t>Subject Title</a:t>
            </a:r>
          </a:p>
        </p:txBody>
      </p:sp>
      <p:sp>
        <p:nvSpPr>
          <p:cNvPr id="3198988" name="AcnFootnote_ID_3198988" hidden="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836613" y="6254750"/>
            <a:ext cx="5564187" cy="334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538163" indent="-5381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*	Footnote</a:t>
            </a:r>
          </a:p>
          <a:p>
            <a:pPr marL="538163" indent="-538163" fontAlgn="base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Source:	Source</a:t>
            </a: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4038600" y="6445250"/>
            <a:ext cx="10668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45720" rIns="4572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fld id="{6675420D-CD84-4F3B-B8B6-EF0F67C2EF0E}" type="slidenum">
              <a:rPr lang="en-US" sz="1000">
                <a:solidFill>
                  <a:srgbClr val="000000"/>
                </a:solidFill>
              </a:rPr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46617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</p:sldLayoutIdLst>
  <p:transition/>
  <p:hf hdr="0" ftr="0" dt="0"/>
  <p:txStyles>
    <p:titleStyle>
      <a:lvl1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2pPr>
      <a:lvl3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3pPr>
      <a:lvl4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4pPr>
      <a:lvl5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5pPr>
      <a:lvl6pPr marL="4572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6pPr>
      <a:lvl7pPr marL="9144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7pPr>
      <a:lvl8pPr marL="13716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8pPr>
      <a:lvl9pPr marL="18288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9pPr>
    </p:titleStyle>
    <p:bodyStyle>
      <a:lvl1pPr marL="381000" indent="-381000" algn="l" rtl="0" eaLnBrk="1" fontAlgn="base" hangingPunct="1">
        <a:spcBef>
          <a:spcPct val="0"/>
        </a:spcBef>
        <a:spcAft>
          <a:spcPts val="1200"/>
        </a:spcAft>
        <a:buClr>
          <a:srgbClr val="FFC000"/>
        </a:buClr>
        <a:buSzPct val="80000"/>
        <a:buFont typeface="Wingdings" pitchFamily="2" charset="2"/>
        <a:buChar char="n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1pPr>
      <a:lvl2pPr marL="568325" indent="-222250" algn="l" rtl="0" eaLnBrk="1" fontAlgn="base" hangingPunct="1">
        <a:spcBef>
          <a:spcPct val="0"/>
        </a:spcBef>
        <a:spcAft>
          <a:spcPts val="1200"/>
        </a:spcAft>
        <a:buClr>
          <a:srgbClr val="FFC000"/>
        </a:buClr>
        <a:buSzPct val="115000"/>
        <a:buFont typeface="Calibri" pitchFamily="34" charset="0"/>
        <a:buChar char="•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marL="739775" indent="-3429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AutoNum type="alphaUcPeriod"/>
        <a:defRPr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3pPr>
      <a:lvl4pPr marL="914400" indent="-346075" algn="l" rtl="0" eaLnBrk="1" fontAlgn="base" hangingPunct="1">
        <a:spcBef>
          <a:spcPct val="0"/>
        </a:spcBef>
        <a:spcAft>
          <a:spcPts val="1200"/>
        </a:spcAft>
        <a:buClr>
          <a:srgbClr val="FFC000"/>
        </a:buClr>
        <a:buFont typeface="Symbol" pitchFamily="18" charset="2"/>
        <a:buChar char="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marL="1333500" indent="-30480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Char char="–"/>
        <a:defRPr sz="1600"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17907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6pPr>
      <a:lvl7pPr marL="22479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7pPr>
      <a:lvl8pPr marL="27051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8pPr>
      <a:lvl9pPr marL="31623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top blue"/>
          <p:cNvPicPr>
            <a:picLocks noChangeAspect="1" noChangeArrowheads="1"/>
          </p:cNvPicPr>
          <p:nvPr/>
        </p:nvPicPr>
        <p:blipFill>
          <a:blip r:embed="rId11"/>
          <a:srcRect l="23065"/>
          <a:stretch>
            <a:fillRect/>
          </a:stretch>
        </p:blipFill>
        <p:spPr bwMode="auto">
          <a:xfrm>
            <a:off x="0" y="0"/>
            <a:ext cx="9150350" cy="930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1" name="Rectangle 3"/>
          <p:cNvSpPr>
            <a:spLocks noGrp="1" noChangeArrowheads="1"/>
          </p:cNvSpPr>
          <p:nvPr>
            <p:ph type="title"/>
          </p:nvPr>
        </p:nvSpPr>
        <p:spPr bwMode="white">
          <a:xfrm>
            <a:off x="736600" y="109538"/>
            <a:ext cx="5664200" cy="762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3400" y="1219200"/>
            <a:ext cx="8153400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46038" rIns="45720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3"/>
            <a:r>
              <a:rPr lang="en-US" altLang="en-US"/>
              <a:t>Third level</a:t>
            </a:r>
          </a:p>
        </p:txBody>
      </p:sp>
      <p:sp>
        <p:nvSpPr>
          <p:cNvPr id="3198981" name="Line 5"/>
          <p:cNvSpPr>
            <a:spLocks noChangeShapeType="1"/>
          </p:cNvSpPr>
          <p:nvPr/>
        </p:nvSpPr>
        <p:spPr bwMode="auto">
          <a:xfrm>
            <a:off x="-17463" y="6856413"/>
            <a:ext cx="9161463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lIns="45720" rIns="4572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7174" name="Picture 6" descr="best ver2b seal"/>
          <p:cNvPicPr>
            <a:picLocks noChangeAspect="1" noChangeArrowheads="1"/>
          </p:cNvPicPr>
          <p:nvPr/>
        </p:nvPicPr>
        <p:blipFill>
          <a:blip r:embed="rId12">
            <a:clrChange>
              <a:clrFrom>
                <a:srgbClr val="003264"/>
              </a:clrFrom>
              <a:clrTo>
                <a:srgbClr val="003264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5400" y="157163"/>
            <a:ext cx="762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98987" name="AcnSubjectTitle_ID_3198987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836613" y="1420813"/>
            <a:ext cx="698500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600" b="1" dirty="0">
                <a:solidFill>
                  <a:srgbClr val="000000"/>
                </a:solidFill>
              </a:rPr>
              <a:t>Subject Title</a:t>
            </a:r>
          </a:p>
        </p:txBody>
      </p:sp>
      <p:sp>
        <p:nvSpPr>
          <p:cNvPr id="3198988" name="AcnFootnote_ID_3198988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36613" y="6254750"/>
            <a:ext cx="5564187" cy="334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538163" indent="-5381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*	Footnote</a:t>
            </a:r>
          </a:p>
          <a:p>
            <a:pPr marL="538163" indent="-538163" fontAlgn="base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Source:	Source</a:t>
            </a: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4038600" y="6445250"/>
            <a:ext cx="10668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45720" rIns="4572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fld id="{6675420D-CD84-4F3B-B8B6-EF0F67C2EF0E}" type="slidenum">
              <a:rPr lang="en-US" sz="1000">
                <a:solidFill>
                  <a:srgbClr val="000000"/>
                </a:solidFill>
              </a:rPr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0" name="Footer Placeholder 1"/>
          <p:cNvSpPr>
            <a:spLocks noGrp="1"/>
          </p:cNvSpPr>
          <p:nvPr>
            <p:ph type="ftr" sz="quarter" idx="3"/>
          </p:nvPr>
        </p:nvSpPr>
        <p:spPr bwMode="auto">
          <a:xfrm>
            <a:off x="406400" y="6507162"/>
            <a:ext cx="28956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sz="1100" dirty="0">
                <a:solidFill>
                  <a:srgbClr val="000000"/>
                </a:solidFill>
              </a:rPr>
              <a:t>For Policy Development Purposes Only</a:t>
            </a:r>
          </a:p>
        </p:txBody>
      </p:sp>
    </p:spTree>
    <p:extLst>
      <p:ext uri="{BB962C8B-B14F-4D97-AF65-F5344CB8AC3E}">
        <p14:creationId xmlns:p14="http://schemas.microsoft.com/office/powerpoint/2010/main" val="3696626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</p:sldLayoutIdLst>
  <p:transition/>
  <p:hf hdr="0" ftr="0" dt="0"/>
  <p:txStyles>
    <p:titleStyle>
      <a:lvl1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2pPr>
      <a:lvl3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3pPr>
      <a:lvl4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4pPr>
      <a:lvl5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5pPr>
      <a:lvl6pPr marL="4572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6pPr>
      <a:lvl7pPr marL="9144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7pPr>
      <a:lvl8pPr marL="13716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8pPr>
      <a:lvl9pPr marL="18288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9pPr>
    </p:titleStyle>
    <p:bodyStyle>
      <a:lvl1pPr marL="381000" indent="-381000" algn="l" rtl="0" eaLnBrk="1" fontAlgn="base" hangingPunct="1">
        <a:spcBef>
          <a:spcPct val="0"/>
        </a:spcBef>
        <a:spcAft>
          <a:spcPts val="1200"/>
        </a:spcAft>
        <a:buClr>
          <a:srgbClr val="FFC000"/>
        </a:buClr>
        <a:buSzPct val="80000"/>
        <a:buFont typeface="Wingdings" pitchFamily="2" charset="2"/>
        <a:buChar char="n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1pPr>
      <a:lvl2pPr marL="568325" indent="-222250" algn="l" rtl="0" eaLnBrk="1" fontAlgn="base" hangingPunct="1">
        <a:spcBef>
          <a:spcPct val="0"/>
        </a:spcBef>
        <a:spcAft>
          <a:spcPts val="1200"/>
        </a:spcAft>
        <a:buClr>
          <a:srgbClr val="FFC000"/>
        </a:buClr>
        <a:buSzPct val="115000"/>
        <a:buFont typeface="Calibri" pitchFamily="34" charset="0"/>
        <a:buChar char="•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marL="739775" indent="-3429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AutoNum type="alphaUcPeriod"/>
        <a:defRPr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3pPr>
      <a:lvl4pPr marL="914400" indent="-346075" algn="l" rtl="0" eaLnBrk="1" fontAlgn="base" hangingPunct="1">
        <a:spcBef>
          <a:spcPct val="0"/>
        </a:spcBef>
        <a:spcAft>
          <a:spcPts val="1200"/>
        </a:spcAft>
        <a:buClr>
          <a:srgbClr val="FFC000"/>
        </a:buClr>
        <a:buFont typeface="Symbol" pitchFamily="18" charset="2"/>
        <a:buChar char="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marL="1333500" indent="-30480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Char char="–"/>
        <a:defRPr sz="1600"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17907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6pPr>
      <a:lvl7pPr marL="22479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7pPr>
      <a:lvl8pPr marL="27051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8pPr>
      <a:lvl9pPr marL="31623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top blue"/>
          <p:cNvPicPr>
            <a:picLocks noChangeAspect="1" noChangeArrowheads="1"/>
          </p:cNvPicPr>
          <p:nvPr/>
        </p:nvPicPr>
        <p:blipFill>
          <a:blip r:embed="rId11"/>
          <a:srcRect l="23065"/>
          <a:stretch>
            <a:fillRect/>
          </a:stretch>
        </p:blipFill>
        <p:spPr bwMode="auto">
          <a:xfrm>
            <a:off x="0" y="0"/>
            <a:ext cx="9150350" cy="930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1" name="Rectangle 3"/>
          <p:cNvSpPr>
            <a:spLocks noGrp="1" noChangeArrowheads="1"/>
          </p:cNvSpPr>
          <p:nvPr>
            <p:ph type="title"/>
          </p:nvPr>
        </p:nvSpPr>
        <p:spPr bwMode="white">
          <a:xfrm>
            <a:off x="736600" y="109538"/>
            <a:ext cx="5664200" cy="762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3400" y="1219200"/>
            <a:ext cx="8153400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46038" rIns="45720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3"/>
            <a:r>
              <a:rPr lang="en-US" altLang="en-US"/>
              <a:t>Third level</a:t>
            </a:r>
          </a:p>
        </p:txBody>
      </p:sp>
      <p:sp>
        <p:nvSpPr>
          <p:cNvPr id="3198981" name="Line 5"/>
          <p:cNvSpPr>
            <a:spLocks noChangeShapeType="1"/>
          </p:cNvSpPr>
          <p:nvPr/>
        </p:nvSpPr>
        <p:spPr bwMode="auto">
          <a:xfrm>
            <a:off x="-17463" y="6856413"/>
            <a:ext cx="9161463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lIns="45720" rIns="4572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7174" name="Picture 6" descr="best ver2b seal"/>
          <p:cNvPicPr>
            <a:picLocks noChangeAspect="1" noChangeArrowheads="1"/>
          </p:cNvPicPr>
          <p:nvPr/>
        </p:nvPicPr>
        <p:blipFill>
          <a:blip r:embed="rId12">
            <a:clrChange>
              <a:clrFrom>
                <a:srgbClr val="003264"/>
              </a:clrFrom>
              <a:clrTo>
                <a:srgbClr val="003264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5400" y="157163"/>
            <a:ext cx="762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98987" name="AcnSubjectTitle_ID_3198987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836613" y="1420813"/>
            <a:ext cx="698500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600" b="1" dirty="0">
                <a:solidFill>
                  <a:srgbClr val="000000"/>
                </a:solidFill>
              </a:rPr>
              <a:t>Subject Title</a:t>
            </a:r>
          </a:p>
        </p:txBody>
      </p:sp>
      <p:sp>
        <p:nvSpPr>
          <p:cNvPr id="3198988" name="AcnFootnote_ID_3198988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36613" y="6254750"/>
            <a:ext cx="5564187" cy="334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538163" indent="-5381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*	Footnote</a:t>
            </a:r>
          </a:p>
          <a:p>
            <a:pPr marL="538163" indent="-538163" fontAlgn="base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Source:	Source</a:t>
            </a: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4038600" y="6445250"/>
            <a:ext cx="10668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45720" rIns="4572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fld id="{6675420D-CD84-4F3B-B8B6-EF0F67C2EF0E}" type="slidenum">
              <a:rPr lang="en-US" sz="1000">
                <a:solidFill>
                  <a:srgbClr val="000000"/>
                </a:solidFill>
              </a:rPr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1113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</p:sldLayoutIdLst>
  <p:transition/>
  <p:hf hdr="0" ftr="0" dt="0"/>
  <p:txStyles>
    <p:titleStyle>
      <a:lvl1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2pPr>
      <a:lvl3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3pPr>
      <a:lvl4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4pPr>
      <a:lvl5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5pPr>
      <a:lvl6pPr marL="4572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6pPr>
      <a:lvl7pPr marL="9144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7pPr>
      <a:lvl8pPr marL="13716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8pPr>
      <a:lvl9pPr marL="18288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9pPr>
    </p:titleStyle>
    <p:bodyStyle>
      <a:lvl1pPr marL="381000" indent="-381000" algn="l" rtl="0" eaLnBrk="1" fontAlgn="base" hangingPunct="1">
        <a:spcBef>
          <a:spcPct val="0"/>
        </a:spcBef>
        <a:spcAft>
          <a:spcPts val="1200"/>
        </a:spcAft>
        <a:buClr>
          <a:srgbClr val="FFC000"/>
        </a:buClr>
        <a:buSzPct val="80000"/>
        <a:buFont typeface="Wingdings" pitchFamily="2" charset="2"/>
        <a:buChar char="n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1pPr>
      <a:lvl2pPr marL="568325" indent="-222250" algn="l" rtl="0" eaLnBrk="1" fontAlgn="base" hangingPunct="1">
        <a:spcBef>
          <a:spcPct val="0"/>
        </a:spcBef>
        <a:spcAft>
          <a:spcPts val="1200"/>
        </a:spcAft>
        <a:buClr>
          <a:srgbClr val="FFC000"/>
        </a:buClr>
        <a:buSzPct val="115000"/>
        <a:buFont typeface="Calibri" pitchFamily="34" charset="0"/>
        <a:buChar char="•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marL="739775" indent="-3429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AutoNum type="alphaUcPeriod"/>
        <a:defRPr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3pPr>
      <a:lvl4pPr marL="914400" indent="-346075" algn="l" rtl="0" eaLnBrk="1" fontAlgn="base" hangingPunct="1">
        <a:spcBef>
          <a:spcPct val="0"/>
        </a:spcBef>
        <a:spcAft>
          <a:spcPts val="1200"/>
        </a:spcAft>
        <a:buClr>
          <a:srgbClr val="FFC000"/>
        </a:buClr>
        <a:buFont typeface="Symbol" pitchFamily="18" charset="2"/>
        <a:buChar char="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marL="1333500" indent="-30480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Char char="–"/>
        <a:defRPr sz="1600"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17907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6pPr>
      <a:lvl7pPr marL="22479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7pPr>
      <a:lvl8pPr marL="27051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8pPr>
      <a:lvl9pPr marL="31623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top blue"/>
          <p:cNvPicPr>
            <a:picLocks noChangeAspect="1" noChangeArrowheads="1"/>
          </p:cNvPicPr>
          <p:nvPr/>
        </p:nvPicPr>
        <p:blipFill>
          <a:blip r:embed="rId13"/>
          <a:srcRect l="23065"/>
          <a:stretch>
            <a:fillRect/>
          </a:stretch>
        </p:blipFill>
        <p:spPr bwMode="auto">
          <a:xfrm>
            <a:off x="0" y="0"/>
            <a:ext cx="9150350" cy="930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1" name="Rectangle 3"/>
          <p:cNvSpPr>
            <a:spLocks noGrp="1" noChangeArrowheads="1"/>
          </p:cNvSpPr>
          <p:nvPr>
            <p:ph type="title"/>
          </p:nvPr>
        </p:nvSpPr>
        <p:spPr bwMode="white">
          <a:xfrm>
            <a:off x="736600" y="109538"/>
            <a:ext cx="5664200" cy="762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3400" y="1219200"/>
            <a:ext cx="8153400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46038" rIns="45720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3"/>
            <a:r>
              <a:rPr lang="en-US" altLang="en-US"/>
              <a:t>Third level</a:t>
            </a:r>
          </a:p>
        </p:txBody>
      </p:sp>
      <p:sp>
        <p:nvSpPr>
          <p:cNvPr id="3198981" name="Line 5"/>
          <p:cNvSpPr>
            <a:spLocks noChangeShapeType="1"/>
          </p:cNvSpPr>
          <p:nvPr/>
        </p:nvSpPr>
        <p:spPr bwMode="auto">
          <a:xfrm>
            <a:off x="-17463" y="6856413"/>
            <a:ext cx="9161463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lIns="45720" rIns="4572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7174" name="Picture 6" descr="best ver2b seal"/>
          <p:cNvPicPr>
            <a:picLocks noChangeAspect="1" noChangeArrowheads="1"/>
          </p:cNvPicPr>
          <p:nvPr/>
        </p:nvPicPr>
        <p:blipFill>
          <a:blip r:embed="rId14">
            <a:clrChange>
              <a:clrFrom>
                <a:srgbClr val="003264"/>
              </a:clrFrom>
              <a:clrTo>
                <a:srgbClr val="003264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5400" y="157163"/>
            <a:ext cx="762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98987" name="AcnSubjectTitle_ID_3198987" hidden="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836613" y="1420813"/>
            <a:ext cx="698500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600" b="1" dirty="0">
                <a:solidFill>
                  <a:srgbClr val="000000"/>
                </a:solidFill>
              </a:rPr>
              <a:t>Subject Title</a:t>
            </a:r>
          </a:p>
        </p:txBody>
      </p:sp>
      <p:sp>
        <p:nvSpPr>
          <p:cNvPr id="3198988" name="AcnFootnote_ID_3198988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836613" y="6254750"/>
            <a:ext cx="5564187" cy="334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538163" indent="-5381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*	Footnote</a:t>
            </a:r>
          </a:p>
          <a:p>
            <a:pPr marL="538163" indent="-538163" fontAlgn="base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Source:	Source</a:t>
            </a: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4038600" y="6445250"/>
            <a:ext cx="10668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45720" rIns="4572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fld id="{6675420D-CD84-4F3B-B8B6-EF0F67C2EF0E}" type="slidenum">
              <a:rPr lang="en-US" sz="1000">
                <a:solidFill>
                  <a:srgbClr val="000000"/>
                </a:solidFill>
              </a:rPr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0291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63" r:id="rId8"/>
    <p:sldLayoutId id="2147483764" r:id="rId9"/>
  </p:sldLayoutIdLst>
  <p:transition/>
  <p:hf hdr="0" ftr="0" dt="0"/>
  <p:txStyles>
    <p:titleStyle>
      <a:lvl1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2pPr>
      <a:lvl3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3pPr>
      <a:lvl4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4pPr>
      <a:lvl5pPr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5pPr>
      <a:lvl6pPr marL="4572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6pPr>
      <a:lvl7pPr marL="9144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7pPr>
      <a:lvl8pPr marL="13716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8pPr>
      <a:lvl9pPr marL="1828800" algn="l" rtl="0" eaLnBrk="1" fontAlgn="base" hangingPunct="1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9pPr>
    </p:titleStyle>
    <p:bodyStyle>
      <a:lvl1pPr marL="381000" indent="-381000" algn="l" rtl="0" eaLnBrk="1" fontAlgn="base" hangingPunct="1">
        <a:spcBef>
          <a:spcPct val="0"/>
        </a:spcBef>
        <a:spcAft>
          <a:spcPts val="1200"/>
        </a:spcAft>
        <a:buClr>
          <a:srgbClr val="FFC000"/>
        </a:buClr>
        <a:buSzPct val="80000"/>
        <a:buFont typeface="Wingdings" pitchFamily="2" charset="2"/>
        <a:buChar char="n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1pPr>
      <a:lvl2pPr marL="568325" indent="-222250" algn="l" rtl="0" eaLnBrk="1" fontAlgn="base" hangingPunct="1">
        <a:spcBef>
          <a:spcPct val="0"/>
        </a:spcBef>
        <a:spcAft>
          <a:spcPts val="1200"/>
        </a:spcAft>
        <a:buClr>
          <a:srgbClr val="FFC000"/>
        </a:buClr>
        <a:buSzPct val="115000"/>
        <a:buFont typeface="Calibri" pitchFamily="34" charset="0"/>
        <a:buChar char="•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marL="739775" indent="-3429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AutoNum type="alphaUcPeriod"/>
        <a:defRPr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3pPr>
      <a:lvl4pPr marL="914400" indent="-346075" algn="l" rtl="0" eaLnBrk="1" fontAlgn="base" hangingPunct="1">
        <a:spcBef>
          <a:spcPct val="0"/>
        </a:spcBef>
        <a:spcAft>
          <a:spcPts val="1200"/>
        </a:spcAft>
        <a:buClr>
          <a:srgbClr val="FFC000"/>
        </a:buClr>
        <a:buFont typeface="Symbol" pitchFamily="18" charset="2"/>
        <a:buChar char="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marL="1333500" indent="-30480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Char char="–"/>
        <a:defRPr sz="1600"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17907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6pPr>
      <a:lvl7pPr marL="22479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7pPr>
      <a:lvl8pPr marL="27051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8pPr>
      <a:lvl9pPr marL="3162300" indent="-30480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>
            <a:spLocks/>
          </p:cNvSpPr>
          <p:nvPr/>
        </p:nvSpPr>
        <p:spPr bwMode="auto">
          <a:xfrm>
            <a:off x="-9525" y="-7144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4381500" y="-7144"/>
            <a:ext cx="47625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1143000"/>
          </a:xfrm>
          <a:prstGeom prst="rect">
            <a:avLst/>
          </a:prstGeom>
        </p:spPr>
        <p:txBody>
          <a:bodyPr vert="horz" lIns="0" rIns="0" bIns="0" anchor="b">
            <a:normAutofit/>
          </a:bodyPr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idx="1"/>
          </p:nvPr>
        </p:nvSpPr>
        <p:spPr>
          <a:xfrm>
            <a:off x="457200" y="1935480"/>
            <a:ext cx="8229600" cy="438912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n-US"/>
              <a:t>Click to edit Master text styles</a:t>
            </a:r>
          </a:p>
          <a:p>
            <a:pPr lvl="1" eaLnBrk="1" latinLnBrk="0" hangingPunct="1"/>
            <a:r>
              <a:rPr kumimoji="0" lang="en-US"/>
              <a:t>Second level</a:t>
            </a:r>
          </a:p>
          <a:p>
            <a:pPr lvl="2" eaLnBrk="1" latinLnBrk="0" hangingPunct="1"/>
            <a:r>
              <a:rPr kumimoji="0" lang="en-US"/>
              <a:t>Third level</a:t>
            </a:r>
          </a:p>
          <a:p>
            <a:pPr lvl="3" eaLnBrk="1" latinLnBrk="0" hangingPunct="1"/>
            <a:r>
              <a:rPr kumimoji="0" lang="en-US"/>
              <a:t>Fourth level</a:t>
            </a:r>
          </a:p>
          <a:p>
            <a:pPr lvl="4" eaLnBrk="1" latinLnBrk="0" hangingPunct="1"/>
            <a:r>
              <a:rPr kumimoji="0" lang="en-US"/>
              <a:t>Fifth level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fld id="{0EAB0777-4C60-462E-A92C-CDAFD498799C}" type="datetimeFigureOut">
              <a:rPr lang="en-US" smtClean="0"/>
              <a:t>8/9/2017</a:t>
            </a:fld>
            <a:endParaRPr lang="en-US" dirty="0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3"/>
          </p:nvPr>
        </p:nvSpPr>
        <p:spPr>
          <a:xfrm>
            <a:off x="2667000" y="6356350"/>
            <a:ext cx="33528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7924800" y="6356350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fld id="{59DE6EB8-52AB-45EA-A660-3E1EBFA72987}" type="slidenum">
              <a:rPr lang="en-US" smtClean="0"/>
              <a:t>‹#›</a:t>
            </a:fld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-19017" y="202408"/>
            <a:ext cx="9180548" cy="649224"/>
            <a:chOff x="-19045" y="216550"/>
            <a:chExt cx="9180548" cy="649224"/>
          </a:xfrm>
        </p:grpSpPr>
        <p:sp>
          <p:nvSpPr>
            <p:cNvPr id="12" name="Freeform 11"/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 dirty="0"/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59" r:id="rId13"/>
    <p:sldLayoutId id="2147483760" r:id="rId14"/>
  </p:sldLayoutIdLst>
  <p:hf hdr="0" ftr="0" dt="0"/>
  <p:txStyles>
    <p:titleStyle>
      <a:lvl1pPr algn="l" rtl="0" eaLnBrk="1" latinLnBrk="0" hangingPunct="1">
        <a:spcBef>
          <a:spcPct val="0"/>
        </a:spcBef>
        <a:buNone/>
        <a:defRPr kumimoji="0" sz="5000" b="0" kern="1200">
          <a:ln>
            <a:noFill/>
          </a:ln>
          <a:solidFill>
            <a:schemeClr val="tx2"/>
          </a:solidFill>
          <a:effectLst/>
          <a:latin typeface="+mj-lt"/>
          <a:ea typeface="+mj-ea"/>
          <a:cs typeface="+mj-cs"/>
        </a:defRPr>
      </a:lvl1pPr>
    </p:titleStyle>
    <p:bodyStyle>
      <a:lvl1pPr marL="274320" indent="-274320" algn="l" rtl="0" eaLnBrk="1" latinLnBrk="0" hangingPunct="1">
        <a:spcBef>
          <a:spcPct val="20000"/>
        </a:spcBef>
        <a:buClr>
          <a:schemeClr val="accent3"/>
        </a:buClr>
        <a:buSzPct val="95000"/>
        <a:buFont typeface="Wingdings 2"/>
        <a:buChar char="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46888" algn="l" rtl="0" eaLnBrk="1" latinLnBrk="0" hangingPunct="1">
        <a:spcBef>
          <a:spcPct val="20000"/>
        </a:spcBef>
        <a:buClr>
          <a:schemeClr val="accent1"/>
        </a:buClr>
        <a:buSzPct val="85000"/>
        <a:buFont typeface="Wingdings 2"/>
        <a:buChar char="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46888" algn="l" rtl="0" eaLnBrk="1" latinLnBrk="0" hangingPunct="1">
        <a:spcBef>
          <a:spcPct val="20000"/>
        </a:spcBef>
        <a:buClr>
          <a:schemeClr val="accent2"/>
        </a:buClr>
        <a:buSzPct val="70000"/>
        <a:buFont typeface="Wingdings 2"/>
        <a:buChar char="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88720" indent="-210312" algn="l" rtl="0" eaLnBrk="1" latinLnBrk="0" hangingPunct="1">
        <a:spcBef>
          <a:spcPct val="20000"/>
        </a:spcBef>
        <a:buClr>
          <a:schemeClr val="accent3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63040" indent="-210312" algn="l" rtl="0" eaLnBrk="1" latinLnBrk="0" hangingPunct="1">
        <a:spcBef>
          <a:spcPct val="20000"/>
        </a:spcBef>
        <a:buClr>
          <a:schemeClr val="accent4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37360" indent="-210312" algn="l" rtl="0" eaLnBrk="1" latinLnBrk="0" hangingPunct="1">
        <a:spcBef>
          <a:spcPct val="20000"/>
        </a:spcBef>
        <a:buClr>
          <a:schemeClr val="accent5"/>
        </a:buClr>
        <a:buSzPct val="80000"/>
        <a:buFont typeface="Wingdings 2"/>
        <a:buChar char="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94560" indent="-182880" algn="l" rtl="0" eaLnBrk="1" latinLnBrk="0" hangingPunct="1">
        <a:spcBef>
          <a:spcPct val="20000"/>
        </a:spcBef>
        <a:buClr>
          <a:schemeClr val="tx2"/>
        </a:buClr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indent="-182880" algn="l" rtl="0" eaLnBrk="1" latinLnBrk="0" hangingPunct="1">
        <a:spcBef>
          <a:spcPct val="20000"/>
        </a:spcBef>
        <a:buClr>
          <a:schemeClr val="tx2"/>
        </a:buClr>
        <a:buFontTx/>
        <a:buChar char="•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914137288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457200" y="914402"/>
            <a:ext cx="8229600" cy="45719"/>
          </a:xfrm>
          <a:prstGeom prst="rect">
            <a:avLst/>
          </a:prstGeom>
          <a:solidFill>
            <a:srgbClr val="DDA037"/>
          </a:solidFill>
          <a:ln w="12700" algn="in">
            <a:solidFill>
              <a:srgbClr val="DDA037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54" tIns="36554" rIns="36554" bIns="36554" anchor="t" anchorCtr="0" upright="1">
            <a:noAutofit/>
          </a:bodyPr>
          <a:lstStyle/>
          <a:p>
            <a:pPr defTabSz="914206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781802" y="6627912"/>
            <a:ext cx="2286001" cy="1570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4206"/>
            <a:r>
              <a:rPr lang="en-US" sz="1000" dirty="0">
                <a:solidFill>
                  <a:srgbClr val="0C2D83"/>
                </a:solidFill>
                <a:cs typeface="Arial" panose="020B0604020202020204" pitchFamily="34" charset="0"/>
              </a:rPr>
              <a:t>Health Policy  Commission | </a:t>
            </a:r>
            <a:fld id="{A5227E9D-7D62-4008-BFCE-C7B8B3FEB975}" type="slidenum">
              <a:rPr lang="en-US" sz="1000" smtClean="0">
                <a:solidFill>
                  <a:srgbClr val="0C2D83"/>
                </a:solidFill>
                <a:cs typeface="Arial" panose="020B0604020202020204" pitchFamily="34" charset="0"/>
              </a:rPr>
              <a:pPr algn="r" defTabSz="914206"/>
              <a:t>‹#›</a:t>
            </a:fld>
            <a:endParaRPr lang="en-US" sz="1000" dirty="0">
              <a:solidFill>
                <a:srgbClr val="0C2D83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449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</p:sldLayoutIdLst>
  <p:txStyles>
    <p:titleStyle>
      <a:lvl1pPr algn="ctr" defTabSz="913818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682" indent="-342682" algn="l" defTabSz="913818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478" indent="-285569" algn="l" defTabSz="913818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273" indent="-228453" algn="l" defTabSz="913818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183" indent="-228453" algn="l" defTabSz="913818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092" indent="-228453" algn="l" defTabSz="913818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001" indent="-228453" algn="l" defTabSz="91381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9911" indent="-228453" algn="l" defTabSz="91381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820" indent="-228453" algn="l" defTabSz="91381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728" indent="-228453" algn="l" defTabSz="91381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12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1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30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3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47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55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36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275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649144808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457200" y="914402"/>
            <a:ext cx="8229600" cy="45719"/>
          </a:xfrm>
          <a:prstGeom prst="rect">
            <a:avLst/>
          </a:prstGeom>
          <a:solidFill>
            <a:srgbClr val="DDA037"/>
          </a:solidFill>
          <a:ln w="12700" algn="in">
            <a:solidFill>
              <a:srgbClr val="DDA037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54" tIns="36554" rIns="36554" bIns="36554" anchor="t" anchorCtr="0" upright="1">
            <a:noAutofit/>
          </a:bodyPr>
          <a:lstStyle/>
          <a:p>
            <a:pPr defTabSz="914206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781802" y="6627912"/>
            <a:ext cx="2286001" cy="1570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4206"/>
            <a:r>
              <a:rPr lang="en-US" sz="1000" dirty="0">
                <a:solidFill>
                  <a:srgbClr val="0C2D83"/>
                </a:solidFill>
                <a:cs typeface="Arial" panose="020B0604020202020204" pitchFamily="34" charset="0"/>
              </a:rPr>
              <a:t>Health Policy  Commission | </a:t>
            </a:r>
            <a:fld id="{A5227E9D-7D62-4008-BFCE-C7B8B3FEB975}" type="slidenum">
              <a:rPr lang="en-US" sz="1000" smtClean="0">
                <a:solidFill>
                  <a:srgbClr val="0C2D83"/>
                </a:solidFill>
                <a:cs typeface="Arial" panose="020B0604020202020204" pitchFamily="34" charset="0"/>
              </a:rPr>
              <a:pPr algn="r" defTabSz="914206"/>
              <a:t>‹#›</a:t>
            </a:fld>
            <a:endParaRPr lang="en-US" sz="1000" dirty="0">
              <a:solidFill>
                <a:srgbClr val="0C2D83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7201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</p:sldLayoutIdLst>
  <p:txStyles>
    <p:titleStyle>
      <a:lvl1pPr algn="ctr" defTabSz="913818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682" indent="-342682" algn="l" defTabSz="913818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478" indent="-285569" algn="l" defTabSz="913818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273" indent="-228453" algn="l" defTabSz="913818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183" indent="-228453" algn="l" defTabSz="913818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092" indent="-228453" algn="l" defTabSz="913818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001" indent="-228453" algn="l" defTabSz="91381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9911" indent="-228453" algn="l" defTabSz="91381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820" indent="-228453" algn="l" defTabSz="91381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728" indent="-228453" algn="l" defTabSz="91381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12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1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30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3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47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55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36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275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213617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457200" y="914400"/>
            <a:ext cx="8229600" cy="45719"/>
          </a:xfrm>
          <a:prstGeom prst="rect">
            <a:avLst/>
          </a:prstGeom>
          <a:solidFill>
            <a:srgbClr val="DDA037"/>
          </a:solidFill>
          <a:ln w="12700" algn="in">
            <a:solidFill>
              <a:srgbClr val="DDA037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781800" y="6627912"/>
            <a:ext cx="228600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C2D83"/>
                </a:solidFill>
                <a:cs typeface="Arial" panose="020B0604020202020204" pitchFamily="34" charset="0"/>
              </a:rPr>
              <a:t>Health Policy Commission | </a:t>
            </a:r>
            <a:fld id="{A5227E9D-7D62-4008-BFCE-C7B8B3FEB975}" type="slidenum">
              <a:rPr lang="en-US" sz="1000">
                <a:solidFill>
                  <a:srgbClr val="0C2D83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000" dirty="0">
              <a:solidFill>
                <a:srgbClr val="0C2D83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62526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</p:sldLayoutIdLst>
  <p:txStyles>
    <p:titleStyle>
      <a:lvl1pPr algn="ctr" defTabSz="914012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754" indent="-342754" algn="l" defTabSz="914012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636" indent="-285630" algn="l" defTabSz="914012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515" indent="-228502" algn="l" defTabSz="914012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521" indent="-228502" algn="l" defTabSz="914012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528" indent="-228502" algn="l" defTabSz="914012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534" indent="-228502" algn="l" defTabSz="91401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540" indent="-228502" algn="l" defTabSz="91401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547" indent="-228502" algn="l" defTabSz="91401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552" indent="-228502" algn="l" defTabSz="91401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0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1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25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3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037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044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05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sz="quarter" idx="1"/>
          </p:nvPr>
        </p:nvSpPr>
        <p:spPr/>
        <p:txBody>
          <a:bodyPr>
            <a:normAutofit/>
          </a:bodyPr>
          <a:lstStyle/>
          <a:p>
            <a:pPr>
              <a:buNone/>
            </a:pPr>
            <a:r>
              <a:rPr lang="en-US" b="1" cap="all" dirty="0"/>
              <a:t>EOHHS Quality Measurement alignment taskforce </a:t>
            </a:r>
          </a:p>
          <a:p>
            <a:endParaRPr lang="en-US" dirty="0"/>
          </a:p>
        </p:txBody>
      </p:sp>
      <p:sp>
        <p:nvSpPr>
          <p:cNvPr id="3" name="Text Placeholder 1"/>
          <p:cNvSpPr txBox="1">
            <a:spLocks/>
          </p:cNvSpPr>
          <p:nvPr/>
        </p:nvSpPr>
        <p:spPr>
          <a:xfrm>
            <a:off x="4515416" y="5943600"/>
            <a:ext cx="3923168" cy="533401"/>
          </a:xfrm>
          <a:prstGeom prst="rect">
            <a:avLst/>
          </a:prstGeom>
        </p:spPr>
        <p:txBody>
          <a:bodyPr>
            <a:normAutofit fontScale="62500" lnSpcReduction="20000"/>
          </a:bodyPr>
          <a:lstStyle>
            <a:lvl1pPr marL="274320" indent="-274320" algn="l" rtl="0" eaLnBrk="1" latinLnBrk="0" hangingPunct="1">
              <a:spcBef>
                <a:spcPct val="20000"/>
              </a:spcBef>
              <a:buClr>
                <a:schemeClr val="accent3"/>
              </a:buClr>
              <a:buSzPct val="95000"/>
              <a:buFont typeface="Wingdings 2"/>
              <a:buChar char=""/>
              <a:defRPr kumimoji="0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0080" indent="-246888" algn="l" rtl="0" eaLnBrk="1" latinLnBrk="0" hangingPunct="1">
              <a:spcBef>
                <a:spcPct val="20000"/>
              </a:spcBef>
              <a:buClr>
                <a:schemeClr val="accent1"/>
              </a:buClr>
              <a:buSzPct val="85000"/>
              <a:buFont typeface="Wingdings 2"/>
              <a:buChar char=""/>
              <a:defRPr kumimoji="0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46888" algn="l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Wingdings 2"/>
              <a:buChar char=""/>
              <a:defRPr kumimoji="0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720" indent="-210312" algn="l" rtl="0" eaLnBrk="1" latinLnBrk="0" hangingPunct="1">
              <a:spcBef>
                <a:spcPct val="20000"/>
              </a:spcBef>
              <a:buClr>
                <a:schemeClr val="accent3"/>
              </a:buClr>
              <a:buSzPct val="65000"/>
              <a:buFont typeface="Wingdings 2"/>
              <a:buChar char="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63040" indent="-210312" algn="l" rtl="0" eaLnBrk="1" latinLnBrk="0" hangingPunct="1">
              <a:spcBef>
                <a:spcPct val="20000"/>
              </a:spcBef>
              <a:buClr>
                <a:schemeClr val="accent4"/>
              </a:buClr>
              <a:buSzPct val="65000"/>
              <a:buFont typeface="Wingdings 2"/>
              <a:buChar char="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7360" indent="-210312" algn="l" rtl="0" eaLnBrk="1" latinLnBrk="0" hangingPunct="1">
              <a:spcBef>
                <a:spcPct val="20000"/>
              </a:spcBef>
              <a:buClr>
                <a:schemeClr val="accent5"/>
              </a:buClr>
              <a:buSzPct val="80000"/>
              <a:buFont typeface="Wingdings 2"/>
              <a:buChar char="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20240" indent="-182880" algn="l" rtl="0" eaLnBrk="1" latinLnBrk="0" hangingPunct="1">
              <a:spcBef>
                <a:spcPct val="20000"/>
              </a:spcBef>
              <a:buClr>
                <a:schemeClr val="accent6"/>
              </a:buClr>
              <a:buSzPct val="80000"/>
              <a:buFont typeface="Wingdings 2"/>
              <a:buChar char=""/>
              <a:defRPr kumimoji="0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94560" indent="-182880" algn="l" rtl="0" eaLnBrk="1" latinLnBrk="0" hangingPunct="1">
              <a:spcBef>
                <a:spcPct val="20000"/>
              </a:spcBef>
              <a:buClr>
                <a:schemeClr val="tx2"/>
              </a:buClr>
              <a:buChar char="•"/>
              <a:defRPr kumimoji="0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8880" indent="-182880" algn="l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Char char="•"/>
              <a:defRPr kumimoji="0"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/>
              <a:t>Meeting #3</a:t>
            </a:r>
          </a:p>
          <a:p>
            <a:pPr marL="0" indent="0" algn="ctr">
              <a:buNone/>
            </a:pPr>
            <a:r>
              <a:rPr lang="en-US" dirty="0"/>
              <a:t>August 10, 2017</a:t>
            </a:r>
          </a:p>
        </p:txBody>
      </p:sp>
    </p:spTree>
    <p:extLst>
      <p:ext uri="{BB962C8B-B14F-4D97-AF65-F5344CB8AC3E}">
        <p14:creationId xmlns:p14="http://schemas.microsoft.com/office/powerpoint/2010/main" val="1210250860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erience with Multi-Payer Aligned Measure Sets (Cont’d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447800"/>
            <a:ext cx="8382000" cy="4556234"/>
          </a:xfrm>
        </p:spPr>
        <p:txBody>
          <a:bodyPr/>
          <a:lstStyle/>
          <a:p>
            <a:pPr marL="457200" indent="-457200">
              <a:buFont typeface="+mj-lt"/>
              <a:buAutoNum type="arabicPeriod" startAt="4"/>
            </a:pPr>
            <a:r>
              <a:rPr lang="en-US" i="1" dirty="0"/>
              <a:t>Based on your experience, what do you think of having a small core measure set, with a somewhat larger menu measure set?</a:t>
            </a:r>
          </a:p>
          <a:p>
            <a:pPr marL="457200" indent="-457200">
              <a:buFont typeface="+mj-lt"/>
              <a:buAutoNum type="arabicPeriod" startAt="4"/>
            </a:pPr>
            <a:endParaRPr lang="en-US" sz="200" i="1" dirty="0"/>
          </a:p>
          <a:p>
            <a:pPr lvl="1">
              <a:spcAft>
                <a:spcPts val="600"/>
              </a:spcAft>
            </a:pPr>
            <a:r>
              <a:rPr lang="en-US" b="0" dirty="0">
                <a:solidFill>
                  <a:schemeClr val="accent2"/>
                </a:solidFill>
              </a:rPr>
              <a:t>It could work depending on the state. </a:t>
            </a:r>
          </a:p>
          <a:p>
            <a:pPr lvl="1">
              <a:spcAft>
                <a:spcPts val="600"/>
              </a:spcAft>
            </a:pPr>
            <a:r>
              <a:rPr lang="en-US" b="0" dirty="0">
                <a:solidFill>
                  <a:schemeClr val="accent2"/>
                </a:solidFill>
              </a:rPr>
              <a:t>Having a core/menu set is a “middle-of-the-road” type of approach, allowing for standardization and customization.  Some plans push back on the idea of a core set, however.</a:t>
            </a:r>
          </a:p>
          <a:p>
            <a:pPr lvl="1"/>
            <a:r>
              <a:rPr lang="en-US" b="0" dirty="0">
                <a:solidFill>
                  <a:schemeClr val="accent2"/>
                </a:solidFill>
              </a:rPr>
              <a:t>This approach could still support comparative reporting across provider organizations and payers.</a:t>
            </a:r>
          </a:p>
        </p:txBody>
      </p:sp>
    </p:spTree>
    <p:extLst>
      <p:ext uri="{BB962C8B-B14F-4D97-AF65-F5344CB8AC3E}">
        <p14:creationId xmlns:p14="http://schemas.microsoft.com/office/powerpoint/2010/main" val="27740942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645920"/>
            <a:ext cx="8077200" cy="4556234"/>
          </a:xfrm>
        </p:spPr>
        <p:txBody>
          <a:bodyPr/>
          <a:lstStyle/>
          <a:p>
            <a:r>
              <a:rPr lang="en-US" dirty="0"/>
              <a:t>Welcome</a:t>
            </a:r>
          </a:p>
          <a:p>
            <a:r>
              <a:rPr lang="en-US" dirty="0"/>
              <a:t>Health Plan Perspectives</a:t>
            </a:r>
          </a:p>
          <a:p>
            <a:r>
              <a:rPr lang="en-US" dirty="0"/>
              <a:t>Research on Experience with Multi-Payer Aligned Measure Sets in Other States</a:t>
            </a:r>
          </a:p>
          <a:p>
            <a:r>
              <a:rPr lang="en-US" dirty="0"/>
              <a:t>Recap of 7-18-17 Meeting Discussion of Domains</a:t>
            </a:r>
          </a:p>
          <a:p>
            <a:r>
              <a:rPr lang="en-US" dirty="0"/>
              <a:t>Review Candidate Measures</a:t>
            </a:r>
          </a:p>
          <a:p>
            <a:r>
              <a:rPr lang="en-US" dirty="0"/>
              <a:t>Next Steps</a:t>
            </a:r>
          </a:p>
        </p:txBody>
      </p:sp>
      <p:sp>
        <p:nvSpPr>
          <p:cNvPr id="4" name="Rectangle 3"/>
          <p:cNvSpPr/>
          <p:nvPr/>
        </p:nvSpPr>
        <p:spPr>
          <a:xfrm>
            <a:off x="-152400" y="3276600"/>
            <a:ext cx="9448800" cy="457200"/>
          </a:xfrm>
          <a:prstGeom prst="rect">
            <a:avLst/>
          </a:prstGeom>
          <a:solidFill>
            <a:srgbClr val="FFC000">
              <a:alpha val="3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0960778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295400"/>
            <a:ext cx="8077200" cy="4723874"/>
          </a:xfrm>
        </p:spPr>
        <p:txBody>
          <a:bodyPr/>
          <a:lstStyle/>
          <a:p>
            <a:pPr marL="0" indent="0">
              <a:buNone/>
            </a:pPr>
            <a:r>
              <a:rPr lang="en-US" b="0" dirty="0"/>
              <a:t>The group suggested the following performance measure domains as a means to structure the measure review process, noting that a measure can potentially fall into more than one domain:</a:t>
            </a:r>
          </a:p>
          <a:p>
            <a:pPr marL="0" indent="0">
              <a:buNone/>
            </a:pPr>
            <a:endParaRPr lang="en-US" b="0" dirty="0"/>
          </a:p>
          <a:p>
            <a:pPr marL="0" indent="0">
              <a:buNone/>
            </a:pPr>
            <a:endParaRPr lang="en-US" b="0" dirty="0"/>
          </a:p>
          <a:p>
            <a:endParaRPr lang="en-US" b="0" dirty="0"/>
          </a:p>
          <a:p>
            <a:endParaRPr lang="en-US" dirty="0"/>
          </a:p>
        </p:txBody>
      </p:sp>
      <p:sp>
        <p:nvSpPr>
          <p:cNvPr id="8" name="Content Placeholder 2"/>
          <p:cNvSpPr txBox="1">
            <a:spLocks/>
          </p:cNvSpPr>
          <p:nvPr/>
        </p:nvSpPr>
        <p:spPr bwMode="auto">
          <a:xfrm>
            <a:off x="530352" y="2510575"/>
            <a:ext cx="8074152" cy="3737825"/>
          </a:xfrm>
          <a:prstGeom prst="rect">
            <a:avLst/>
          </a:prstGeom>
          <a:noFill/>
          <a:ln w="6350" cmpd="sng">
            <a:noFill/>
            <a:miter lim="800000"/>
            <a:headEnd/>
            <a:tailEnd/>
          </a:ln>
        </p:spPr>
        <p:txBody>
          <a:bodyPr vert="horz" wrap="square" lIns="45720" tIns="46038" rIns="45720" bIns="46038" numCol="2" anchor="t" anchorCtr="0" compatLnSpc="1">
            <a:prstTxWarp prst="textNoShape">
              <a:avLst/>
            </a:prstTxWarp>
          </a:bodyPr>
          <a:lstStyle>
            <a:lvl1pPr marL="381000" indent="-381000" algn="l" rtl="0" eaLnBrk="1" fontAlgn="base" hangingPunct="1">
              <a:spcBef>
                <a:spcPct val="0"/>
              </a:spcBef>
              <a:spcAft>
                <a:spcPts val="1200"/>
              </a:spcAft>
              <a:buClrTx/>
              <a:buSzPct val="100000"/>
              <a:buFont typeface="Wingdings" pitchFamily="2" charset="2"/>
              <a:buChar char="n"/>
              <a:defRPr sz="2000" b="1">
                <a:solidFill>
                  <a:schemeClr val="tx1"/>
                </a:solidFill>
                <a:latin typeface="Book Antiqua" pitchFamily="18" charset="0"/>
                <a:ea typeface="Calibri" pitchFamily="34" charset="0"/>
                <a:cs typeface="Calibri" pitchFamily="34" charset="0"/>
              </a:defRPr>
            </a:lvl1pPr>
            <a:lvl2pPr marL="568325" indent="-222250" algn="l" rtl="0" eaLnBrk="1" fontAlgn="base" hangingPunct="1">
              <a:spcBef>
                <a:spcPct val="0"/>
              </a:spcBef>
              <a:spcAft>
                <a:spcPts val="1200"/>
              </a:spcAft>
              <a:buClrTx/>
              <a:buSzPct val="100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Book Antiqua" pitchFamily="18" charset="0"/>
                <a:ea typeface="Calibri" pitchFamily="34" charset="0"/>
                <a:cs typeface="Calibri" pitchFamily="34" charset="0"/>
              </a:defRPr>
            </a:lvl2pPr>
            <a:lvl3pPr marL="739775" indent="-342900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None/>
              <a:defRPr>
                <a:solidFill>
                  <a:schemeClr val="tx1"/>
                </a:solidFill>
                <a:latin typeface="+mn-lt"/>
                <a:ea typeface="Calibri" pitchFamily="34" charset="0"/>
                <a:cs typeface="Calibri" pitchFamily="34" charset="0"/>
              </a:defRPr>
            </a:lvl3pPr>
            <a:lvl4pPr marL="914400" indent="-346075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rgbClr val="FFC000"/>
              </a:buClr>
              <a:buFont typeface="Symbol" pitchFamily="18" charset="2"/>
              <a:buChar char=""/>
              <a:defRPr b="1">
                <a:solidFill>
                  <a:srgbClr val="00336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4pPr>
            <a:lvl5pPr marL="1333500" indent="-3048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Char char="–"/>
              <a:defRPr sz="1600" b="1">
                <a:solidFill>
                  <a:srgbClr val="00336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5pPr>
            <a:lvl6pPr marL="1790700" indent="-304800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2247900" indent="-304800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2705100" indent="-304800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3162300" indent="-304800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685800" lvl="1" indent="-457200">
              <a:spcAft>
                <a:spcPts val="300"/>
              </a:spcAft>
              <a:buFont typeface="+mj-lt"/>
              <a:buAutoNum type="arabicPeriod"/>
            </a:pPr>
            <a:r>
              <a:rPr lang="en-US" sz="1800" b="0" kern="0" dirty="0"/>
              <a:t>Preventive Care</a:t>
            </a:r>
          </a:p>
          <a:p>
            <a:pPr marL="685800" lvl="1" indent="-457200">
              <a:spcAft>
                <a:spcPts val="300"/>
              </a:spcAft>
              <a:buFont typeface="+mj-lt"/>
              <a:buAutoNum type="arabicPeriod"/>
            </a:pPr>
            <a:r>
              <a:rPr lang="en-US" sz="1800" b="0" kern="0" dirty="0"/>
              <a:t>Behavioral Health Care</a:t>
            </a:r>
          </a:p>
          <a:p>
            <a:pPr marL="685800" lvl="1" indent="-457200">
              <a:spcAft>
                <a:spcPts val="300"/>
              </a:spcAft>
              <a:buFont typeface="+mj-lt"/>
              <a:buAutoNum type="arabicPeriod"/>
            </a:pPr>
            <a:r>
              <a:rPr lang="en-US" sz="1800" b="0" kern="0" dirty="0"/>
              <a:t>Acute Care </a:t>
            </a:r>
            <a:r>
              <a:rPr lang="en-US" sz="1800" b="0" i="1" kern="0" dirty="0"/>
              <a:t>(including cardiac care and orthopedic care)</a:t>
            </a:r>
          </a:p>
          <a:p>
            <a:pPr marL="685800" lvl="1" indent="-457200">
              <a:spcAft>
                <a:spcPts val="300"/>
              </a:spcAft>
              <a:buFont typeface="+mj-lt"/>
              <a:buAutoNum type="arabicPeriod"/>
            </a:pPr>
            <a:r>
              <a:rPr lang="en-US" sz="1800" b="0" kern="0" dirty="0"/>
              <a:t>Chronic Illness Care </a:t>
            </a:r>
            <a:r>
              <a:rPr lang="en-US" sz="1800" b="0" i="1" kern="0" dirty="0"/>
              <a:t>(including cancer care)</a:t>
            </a:r>
          </a:p>
          <a:p>
            <a:pPr marL="685800" lvl="1" indent="-457200">
              <a:spcAft>
                <a:spcPts val="300"/>
              </a:spcAft>
              <a:buFont typeface="+mj-lt"/>
              <a:buAutoNum type="arabicPeriod"/>
            </a:pPr>
            <a:r>
              <a:rPr lang="en-US" sz="1800" b="0" kern="0" dirty="0"/>
              <a:t>Maternity Care</a:t>
            </a:r>
          </a:p>
          <a:p>
            <a:pPr marL="685800" lvl="1" indent="-457200">
              <a:spcAft>
                <a:spcPts val="300"/>
              </a:spcAft>
              <a:buFont typeface="+mj-lt"/>
              <a:buAutoNum type="arabicPeriod"/>
            </a:pPr>
            <a:r>
              <a:rPr lang="en-US" sz="1800" b="0" kern="0" dirty="0"/>
              <a:t>Care Coordination</a:t>
            </a:r>
          </a:p>
          <a:p>
            <a:pPr marL="685800" lvl="1" indent="-457200">
              <a:spcAft>
                <a:spcPts val="300"/>
              </a:spcAft>
              <a:buFont typeface="+mj-lt"/>
              <a:buAutoNum type="arabicPeriod"/>
            </a:pPr>
            <a:r>
              <a:rPr lang="en-US" sz="1800" b="0" kern="0" dirty="0"/>
              <a:t>Integration</a:t>
            </a:r>
          </a:p>
          <a:p>
            <a:pPr marL="685800" lvl="1" indent="-457200">
              <a:spcAft>
                <a:spcPts val="300"/>
              </a:spcAft>
              <a:buFont typeface="+mj-lt"/>
              <a:buAutoNum type="arabicPeriod"/>
            </a:pPr>
            <a:r>
              <a:rPr lang="en-US" sz="1800" b="0" kern="0" dirty="0"/>
              <a:t>Team-based Care</a:t>
            </a:r>
          </a:p>
          <a:p>
            <a:pPr marL="685800" lvl="1" indent="-457200">
              <a:spcAft>
                <a:spcPts val="300"/>
              </a:spcAft>
              <a:buFont typeface="+mj-lt"/>
              <a:buAutoNum type="arabicPeriod"/>
            </a:pPr>
            <a:endParaRPr lang="en-US" sz="1800" b="0" kern="0" dirty="0"/>
          </a:p>
          <a:p>
            <a:pPr marL="685800" lvl="1" indent="-457200">
              <a:spcAft>
                <a:spcPts val="300"/>
              </a:spcAft>
              <a:buFont typeface="+mj-lt"/>
              <a:buAutoNum type="arabicPeriod"/>
            </a:pPr>
            <a:endParaRPr lang="en-US" sz="1800" b="0" kern="0" dirty="0"/>
          </a:p>
          <a:p>
            <a:pPr marL="685800" lvl="1" indent="-457200">
              <a:spcAft>
                <a:spcPts val="300"/>
              </a:spcAft>
              <a:buFont typeface="+mj-lt"/>
              <a:buAutoNum type="arabicPeriod"/>
            </a:pPr>
            <a:endParaRPr lang="en-US" sz="1800" b="0" kern="0" dirty="0"/>
          </a:p>
          <a:p>
            <a:pPr marL="685800" lvl="1" indent="-457200">
              <a:spcAft>
                <a:spcPts val="300"/>
              </a:spcAft>
              <a:buFont typeface="+mj-lt"/>
              <a:buAutoNum type="arabicPeriod"/>
            </a:pPr>
            <a:endParaRPr lang="en-US" sz="1800" b="0" kern="0" dirty="0"/>
          </a:p>
          <a:p>
            <a:pPr marL="685800" lvl="1" indent="-457200">
              <a:spcAft>
                <a:spcPts val="300"/>
              </a:spcAft>
              <a:buFont typeface="+mj-lt"/>
              <a:buAutoNum type="arabicPeriod"/>
            </a:pPr>
            <a:endParaRPr lang="en-US" sz="1800" b="0" kern="0" dirty="0"/>
          </a:p>
          <a:p>
            <a:pPr marL="685800" lvl="1" indent="-457200">
              <a:spcAft>
                <a:spcPts val="300"/>
              </a:spcAft>
              <a:buFont typeface="+mj-lt"/>
              <a:buAutoNum type="arabicPeriod"/>
            </a:pPr>
            <a:endParaRPr lang="en-US" sz="1800" b="0" kern="0" dirty="0"/>
          </a:p>
          <a:p>
            <a:pPr marL="685800" lvl="1" indent="-457200">
              <a:spcAft>
                <a:spcPts val="300"/>
              </a:spcAft>
              <a:buFont typeface="+mj-lt"/>
              <a:buAutoNum type="arabicPeriod"/>
            </a:pPr>
            <a:r>
              <a:rPr lang="en-US" sz="1800" b="0" kern="0" dirty="0"/>
              <a:t>Equity </a:t>
            </a:r>
            <a:r>
              <a:rPr lang="en-US" sz="1800" b="0" i="1" kern="0" dirty="0"/>
              <a:t>(disparities)</a:t>
            </a:r>
          </a:p>
          <a:p>
            <a:pPr marL="685800" lvl="1" indent="-457200">
              <a:spcAft>
                <a:spcPts val="300"/>
              </a:spcAft>
              <a:buFont typeface="+mj-lt"/>
              <a:buAutoNum type="arabicPeriod"/>
            </a:pPr>
            <a:r>
              <a:rPr lang="en-US" sz="1800" b="0" kern="0" dirty="0"/>
              <a:t>Social Determinants of Health</a:t>
            </a:r>
          </a:p>
          <a:p>
            <a:pPr marL="685800" lvl="1" indent="-457200">
              <a:spcAft>
                <a:spcPts val="300"/>
              </a:spcAft>
              <a:buFont typeface="+mj-lt"/>
              <a:buAutoNum type="arabicPeriod"/>
            </a:pPr>
            <a:r>
              <a:rPr lang="en-US" sz="1800" b="0" kern="0" dirty="0"/>
              <a:t>Health Behaviors</a:t>
            </a:r>
          </a:p>
          <a:p>
            <a:pPr marL="685800" lvl="1" indent="-457200">
              <a:spcAft>
                <a:spcPts val="300"/>
              </a:spcAft>
              <a:buFont typeface="+mj-lt"/>
              <a:buAutoNum type="arabicPeriod"/>
            </a:pPr>
            <a:r>
              <a:rPr lang="en-US" sz="1800" b="0" kern="0" dirty="0"/>
              <a:t>Patient/Provider Communication</a:t>
            </a:r>
          </a:p>
          <a:p>
            <a:pPr marL="685800" lvl="1" indent="-457200">
              <a:spcAft>
                <a:spcPts val="300"/>
              </a:spcAft>
              <a:buFont typeface="+mj-lt"/>
              <a:buAutoNum type="arabicPeriod"/>
            </a:pPr>
            <a:r>
              <a:rPr lang="en-US" sz="1800" b="0" kern="0" dirty="0"/>
              <a:t>Patient Engagement</a:t>
            </a:r>
          </a:p>
          <a:p>
            <a:pPr marL="685800" lvl="1" indent="-457200">
              <a:spcAft>
                <a:spcPts val="300"/>
              </a:spcAft>
              <a:buFont typeface="+mj-lt"/>
              <a:buAutoNum type="arabicPeriod"/>
            </a:pPr>
            <a:r>
              <a:rPr lang="en-US" sz="1800" b="0" kern="0" dirty="0"/>
              <a:t>Patient Experience</a:t>
            </a:r>
          </a:p>
          <a:p>
            <a:pPr marL="685800" lvl="1" indent="-457200">
              <a:spcAft>
                <a:spcPts val="300"/>
              </a:spcAft>
              <a:buFont typeface="+mj-lt"/>
              <a:buAutoNum type="arabicPeriod"/>
            </a:pPr>
            <a:r>
              <a:rPr lang="en-US" sz="1800" b="0" kern="0" dirty="0"/>
              <a:t>Relationship-Centered Care</a:t>
            </a:r>
          </a:p>
          <a:p>
            <a:pPr marL="685800" lvl="1" indent="-457200">
              <a:spcAft>
                <a:spcPts val="300"/>
              </a:spcAft>
              <a:buFont typeface="+mj-lt"/>
              <a:buAutoNum type="arabicPeriod"/>
            </a:pPr>
            <a:r>
              <a:rPr lang="en-US" sz="1800" b="0" kern="0" dirty="0"/>
              <a:t>Hospital Care*</a:t>
            </a:r>
          </a:p>
          <a:p>
            <a:pPr marL="685800" lvl="1" indent="-457200">
              <a:spcAft>
                <a:spcPts val="300"/>
              </a:spcAft>
              <a:buFont typeface="+mj-lt"/>
              <a:buAutoNum type="arabicPeriod"/>
            </a:pPr>
            <a:endParaRPr lang="en-US" sz="1800" b="0" kern="0" dirty="0"/>
          </a:p>
          <a:p>
            <a:pPr marL="228600" lvl="1" indent="0">
              <a:spcAft>
                <a:spcPts val="300"/>
              </a:spcAft>
              <a:buNone/>
            </a:pPr>
            <a:endParaRPr lang="en-US" sz="1800" b="0" kern="0" dirty="0"/>
          </a:p>
          <a:p>
            <a:pPr marL="228600" lvl="1" indent="0">
              <a:spcAft>
                <a:spcPts val="300"/>
              </a:spcAft>
              <a:buNone/>
            </a:pPr>
            <a:endParaRPr lang="en-US" sz="1800" b="0" kern="0" dirty="0"/>
          </a:p>
          <a:p>
            <a:pPr marL="228600" lvl="1" indent="0">
              <a:spcAft>
                <a:spcPts val="300"/>
              </a:spcAft>
              <a:buNone/>
            </a:pPr>
            <a:endParaRPr lang="en-US" sz="1800" b="0" kern="0" dirty="0"/>
          </a:p>
          <a:p>
            <a:pPr marL="228600" lvl="1" indent="0">
              <a:spcAft>
                <a:spcPts val="300"/>
              </a:spcAft>
              <a:buNone/>
            </a:pPr>
            <a:endParaRPr lang="en-US" sz="1800" b="0" kern="0" dirty="0"/>
          </a:p>
          <a:p>
            <a:pPr marL="685800" lvl="1" indent="-457200"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sz="1800" b="0" kern="0" dirty="0"/>
          </a:p>
        </p:txBody>
      </p:sp>
      <p:cxnSp>
        <p:nvCxnSpPr>
          <p:cNvPr id="12" name="Straight Connector 11"/>
          <p:cNvCxnSpPr/>
          <p:nvPr/>
        </p:nvCxnSpPr>
        <p:spPr>
          <a:xfrm>
            <a:off x="4449031" y="1162748"/>
            <a:ext cx="33842" cy="4265067"/>
          </a:xfrm>
          <a:prstGeom prst="line">
            <a:avLst/>
          </a:prstGeom>
          <a:ln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36600" y="109538"/>
            <a:ext cx="6273800" cy="762000"/>
          </a:xfrm>
        </p:spPr>
        <p:txBody>
          <a:bodyPr/>
          <a:lstStyle/>
          <a:p>
            <a:r>
              <a:rPr lang="en-US" dirty="0"/>
              <a:t>Recap of 7-18-17 Meeting Discussion:</a:t>
            </a:r>
            <a:br>
              <a:rPr lang="en-US" dirty="0"/>
            </a:br>
            <a:r>
              <a:rPr lang="en-US" dirty="0"/>
              <a:t>Performance Domain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074920" y="5486400"/>
            <a:ext cx="35387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>
                <a:latin typeface="Book Antiqua" panose="02040602050305030304" pitchFamily="18" charset="0"/>
              </a:rPr>
              <a:t>*The group agreed to re-visit this domain at the end of the measure selection process to reassess if hospital measures are desirable to the Taskforce.</a:t>
            </a:r>
          </a:p>
        </p:txBody>
      </p:sp>
    </p:spTree>
    <p:extLst>
      <p:ext uri="{BB962C8B-B14F-4D97-AF65-F5344CB8AC3E}">
        <p14:creationId xmlns:p14="http://schemas.microsoft.com/office/powerpoint/2010/main" val="1672787045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645920"/>
            <a:ext cx="8077200" cy="4556234"/>
          </a:xfrm>
        </p:spPr>
        <p:txBody>
          <a:bodyPr/>
          <a:lstStyle/>
          <a:p>
            <a:r>
              <a:rPr lang="en-US" dirty="0"/>
              <a:t>Welcome</a:t>
            </a:r>
          </a:p>
          <a:p>
            <a:r>
              <a:rPr lang="en-US" dirty="0"/>
              <a:t>Health Plan Perspectives</a:t>
            </a:r>
          </a:p>
          <a:p>
            <a:r>
              <a:rPr lang="en-US" dirty="0"/>
              <a:t>Research on Experience with Multi-Payer Aligned Measure Sets in Other States</a:t>
            </a:r>
          </a:p>
          <a:p>
            <a:r>
              <a:rPr lang="en-US" dirty="0"/>
              <a:t>Recap of 7-18-17 Meeting Discussion of Domains</a:t>
            </a:r>
          </a:p>
          <a:p>
            <a:r>
              <a:rPr lang="en-US" dirty="0"/>
              <a:t>Review Candidate Measures</a:t>
            </a:r>
          </a:p>
          <a:p>
            <a:r>
              <a:rPr lang="en-US" dirty="0"/>
              <a:t>Next Steps</a:t>
            </a:r>
          </a:p>
        </p:txBody>
      </p:sp>
      <p:sp>
        <p:nvSpPr>
          <p:cNvPr id="4" name="Rectangle 3"/>
          <p:cNvSpPr/>
          <p:nvPr/>
        </p:nvSpPr>
        <p:spPr>
          <a:xfrm>
            <a:off x="-152400" y="3733800"/>
            <a:ext cx="9448800" cy="457200"/>
          </a:xfrm>
          <a:prstGeom prst="rect">
            <a:avLst/>
          </a:prstGeom>
          <a:solidFill>
            <a:srgbClr val="FFC000">
              <a:alpha val="3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9121679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ew Candidate Measures:</a:t>
            </a:r>
            <a:br>
              <a:rPr lang="en-US" dirty="0"/>
            </a:br>
            <a:r>
              <a:rPr lang="en-US" dirty="0"/>
              <a:t>Criteria for Candidate Se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half" idx="1"/>
          </p:nvPr>
        </p:nvSpPr>
        <p:spPr>
          <a:xfrm>
            <a:off x="533400" y="1295400"/>
            <a:ext cx="8229600" cy="4267200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Candidate measures were selected using the following methodology:</a:t>
            </a:r>
          </a:p>
          <a:p>
            <a:pPr marL="803275" lvl="1" indent="-457200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b="0" dirty="0"/>
              <a:t>Included in a domain identified by the Taskforce</a:t>
            </a:r>
          </a:p>
          <a:p>
            <a:pPr marL="803275" lvl="1" indent="-457200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b="0" dirty="0"/>
              <a:t>Found in at least 2 “alignment” measure sets</a:t>
            </a:r>
          </a:p>
          <a:p>
            <a:pPr marL="803275" lvl="1" indent="-457200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b="0" dirty="0"/>
              <a:t>Found in the CMS/AHIP Core Quality Measures Collaborative (CQMC) and/or the MassHealth ACO/DSRIP measure sets*</a:t>
            </a:r>
          </a:p>
          <a:p>
            <a:pPr marL="803275" lvl="1" indent="-457200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b="0" dirty="0"/>
              <a:t>Has a weighted average commercial and/or Medicaid rate that is </a:t>
            </a:r>
            <a:r>
              <a:rPr lang="en-US" dirty="0"/>
              <a:t>below</a:t>
            </a:r>
            <a:r>
              <a:rPr lang="en-US" b="0" dirty="0"/>
              <a:t> the HEDIS 90</a:t>
            </a:r>
            <a:r>
              <a:rPr lang="en-US" b="0" baseline="30000" dirty="0"/>
              <a:t>th</a:t>
            </a:r>
            <a:r>
              <a:rPr lang="en-US" b="0" dirty="0"/>
              <a:t> percentile</a:t>
            </a:r>
          </a:p>
          <a:p>
            <a:pPr marL="1143000" lvl="2">
              <a:spcBef>
                <a:spcPts val="0"/>
              </a:spcBef>
              <a:spcAft>
                <a:spcPts val="600"/>
              </a:spcAft>
              <a:buFont typeface="Book Antiqua" panose="02040602050305030304" pitchFamily="18" charset="0"/>
              <a:buChar char="−"/>
            </a:pPr>
            <a:r>
              <a:rPr lang="en-US" sz="1600" dirty="0">
                <a:latin typeface="Book Antiqua" panose="02040602050305030304" pitchFamily="18" charset="0"/>
              </a:rPr>
              <a:t>For commercial: national commercial rate for all lines of business plans for HEDIS 2016 (CY 2015 rates)</a:t>
            </a:r>
          </a:p>
          <a:p>
            <a:pPr marL="1143000" lvl="2">
              <a:spcBef>
                <a:spcPts val="0"/>
              </a:spcBef>
              <a:spcAft>
                <a:spcPts val="600"/>
              </a:spcAft>
              <a:buFont typeface="Book Antiqua" panose="02040602050305030304" pitchFamily="18" charset="0"/>
              <a:buChar char="−"/>
            </a:pPr>
            <a:r>
              <a:rPr lang="en-US" sz="1600" dirty="0">
                <a:latin typeface="Book Antiqua" panose="02040602050305030304" pitchFamily="18" charset="0"/>
              </a:rPr>
              <a:t>For Medicaid: national Medicaid rate for HMO plans for HEDIS 2016 (CY 2015 rates)</a:t>
            </a:r>
          </a:p>
          <a:p>
            <a:pPr lvl="2">
              <a:spcBef>
                <a:spcPts val="0"/>
              </a:spcBef>
              <a:spcAft>
                <a:spcPts val="600"/>
              </a:spcAft>
              <a:buFont typeface="Book Antiqua" panose="02040602050305030304" pitchFamily="18" charset="0"/>
              <a:buChar char="−"/>
            </a:pPr>
            <a:endParaRPr lang="en-US" sz="500" dirty="0">
              <a:latin typeface="Book Antiqua" panose="02040602050305030304" pitchFamily="18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We will review candidate measures by domain, and within domain, grouped by age and measure focus, if applicable.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5266267" y="5986462"/>
            <a:ext cx="350520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i="1" dirty="0">
                <a:latin typeface="Book Antiqua" panose="02040602050305030304" pitchFamily="18" charset="0"/>
              </a:rPr>
              <a:t>*MassHealth ACO/DSRIP and CMS/AHIP CQMC measures are included for consideration even if they are not found in at least 2 “alignment” measure sets.</a:t>
            </a:r>
          </a:p>
        </p:txBody>
      </p:sp>
    </p:spTree>
    <p:extLst>
      <p:ext uri="{BB962C8B-B14F-4D97-AF65-F5344CB8AC3E}">
        <p14:creationId xmlns:p14="http://schemas.microsoft.com/office/powerpoint/2010/main" val="72586202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ndidate Measure Sourc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143000"/>
            <a:ext cx="4114800" cy="4556234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sz="1800" dirty="0"/>
              <a:t>Measures currently in use in APM contracts by providers and payers:</a:t>
            </a:r>
          </a:p>
          <a:p>
            <a:pPr lvl="1">
              <a:spcAft>
                <a:spcPts val="600"/>
              </a:spcAft>
            </a:pPr>
            <a:r>
              <a:rPr lang="en-US" sz="1800" b="0" dirty="0"/>
              <a:t>Harvard Pilgrim Health Care (2017)</a:t>
            </a:r>
          </a:p>
          <a:p>
            <a:pPr lvl="1">
              <a:spcAft>
                <a:spcPts val="600"/>
              </a:spcAft>
            </a:pPr>
            <a:r>
              <a:rPr lang="en-US" sz="1800" b="0" dirty="0"/>
              <a:t>Blue Cross Blue Shield of MA (2017)</a:t>
            </a:r>
          </a:p>
          <a:p>
            <a:pPr lvl="1">
              <a:spcAft>
                <a:spcPts val="600"/>
              </a:spcAft>
            </a:pPr>
            <a:r>
              <a:rPr lang="en-US" sz="1800" b="0" dirty="0"/>
              <a:t>Tufts Health Plan (2017)</a:t>
            </a:r>
          </a:p>
          <a:p>
            <a:pPr>
              <a:spcAft>
                <a:spcPts val="600"/>
              </a:spcAft>
            </a:pPr>
            <a:r>
              <a:rPr lang="en-US" sz="1800" dirty="0"/>
              <a:t>Measures found in local and state measure sets:</a:t>
            </a:r>
          </a:p>
          <a:p>
            <a:pPr lvl="1">
              <a:spcAft>
                <a:spcPts val="600"/>
              </a:spcAft>
            </a:pPr>
            <a:r>
              <a:rPr lang="en-US" sz="1800" b="0" dirty="0"/>
              <a:t>Boston Public Health Commission (2016)</a:t>
            </a:r>
          </a:p>
          <a:p>
            <a:pPr lvl="1">
              <a:spcAft>
                <a:spcPts val="600"/>
              </a:spcAft>
            </a:pPr>
            <a:r>
              <a:rPr lang="en-US" sz="1800" b="0" dirty="0"/>
              <a:t>MassHealth ACO (DSRIP)</a:t>
            </a:r>
          </a:p>
          <a:p>
            <a:pPr lvl="1">
              <a:spcAft>
                <a:spcPts val="600"/>
              </a:spcAft>
            </a:pPr>
            <a:r>
              <a:rPr lang="en-US" sz="1800" b="0" dirty="0"/>
              <a:t>MassHealth MCO (Payment)</a:t>
            </a:r>
          </a:p>
          <a:p>
            <a:pPr lvl="1">
              <a:spcAft>
                <a:spcPts val="600"/>
              </a:spcAft>
            </a:pPr>
            <a:r>
              <a:rPr lang="en-US" sz="1800" b="0" dirty="0"/>
              <a:t>Standard Quality Measure Set</a:t>
            </a:r>
            <a:endParaRPr lang="en-US" sz="1800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 bwMode="auto">
          <a:xfrm>
            <a:off x="4648200" y="1143000"/>
            <a:ext cx="4114800" cy="5029200"/>
          </a:xfrm>
          <a:prstGeom prst="rect">
            <a:avLst/>
          </a:prstGeom>
          <a:noFill/>
          <a:ln w="6350" cmpd="sng">
            <a:noFill/>
            <a:miter lim="800000"/>
            <a:headEnd/>
            <a:tailEnd/>
          </a:ln>
        </p:spPr>
        <p:txBody>
          <a:bodyPr vert="horz" wrap="square" lIns="45720" tIns="46038" rIns="45720" bIns="46038" numCol="1" anchor="t" anchorCtr="0" compatLnSpc="1">
            <a:prstTxWarp prst="textNoShape">
              <a:avLst/>
            </a:prstTxWarp>
          </a:bodyPr>
          <a:lstStyle>
            <a:lvl1pPr marL="381000" indent="-381000" algn="l" rtl="0" eaLnBrk="1" fontAlgn="base" hangingPunct="1">
              <a:spcBef>
                <a:spcPct val="0"/>
              </a:spcBef>
              <a:spcAft>
                <a:spcPts val="1200"/>
              </a:spcAft>
              <a:buClrTx/>
              <a:buSzPct val="100000"/>
              <a:buFont typeface="Wingdings" pitchFamily="2" charset="2"/>
              <a:buChar char="n"/>
              <a:defRPr sz="2000" b="1">
                <a:solidFill>
                  <a:schemeClr val="tx1"/>
                </a:solidFill>
                <a:latin typeface="Book Antiqua" pitchFamily="18" charset="0"/>
                <a:ea typeface="Calibri" pitchFamily="34" charset="0"/>
                <a:cs typeface="Calibri" pitchFamily="34" charset="0"/>
              </a:defRPr>
            </a:lvl1pPr>
            <a:lvl2pPr marL="568325" indent="-222250" algn="l" rtl="0" eaLnBrk="1" fontAlgn="base" hangingPunct="1">
              <a:spcBef>
                <a:spcPct val="0"/>
              </a:spcBef>
              <a:spcAft>
                <a:spcPts val="1200"/>
              </a:spcAft>
              <a:buClrTx/>
              <a:buSzPct val="100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Book Antiqua" pitchFamily="18" charset="0"/>
                <a:ea typeface="Calibri" pitchFamily="34" charset="0"/>
                <a:cs typeface="Calibri" pitchFamily="34" charset="0"/>
              </a:defRPr>
            </a:lvl2pPr>
            <a:lvl3pPr marL="739775" indent="-342900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None/>
              <a:defRPr>
                <a:solidFill>
                  <a:schemeClr val="tx1"/>
                </a:solidFill>
                <a:latin typeface="+mn-lt"/>
                <a:ea typeface="Calibri" pitchFamily="34" charset="0"/>
                <a:cs typeface="Calibri" pitchFamily="34" charset="0"/>
              </a:defRPr>
            </a:lvl3pPr>
            <a:lvl4pPr marL="914400" indent="-346075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rgbClr val="FFC000"/>
              </a:buClr>
              <a:buFont typeface="Symbol" pitchFamily="18" charset="2"/>
              <a:buChar char=""/>
              <a:defRPr b="1">
                <a:solidFill>
                  <a:srgbClr val="00336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4pPr>
            <a:lvl5pPr marL="1333500" indent="-3048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Char char="–"/>
              <a:defRPr sz="1600" b="1">
                <a:solidFill>
                  <a:srgbClr val="00336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5pPr>
            <a:lvl6pPr marL="1790700" indent="-304800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2247900" indent="-304800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2705100" indent="-304800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3162300" indent="-304800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Aft>
                <a:spcPts val="600"/>
              </a:spcAft>
            </a:pPr>
            <a:r>
              <a:rPr lang="en-US" sz="1800" kern="0" dirty="0"/>
              <a:t>Measures found in national measure sets:</a:t>
            </a:r>
          </a:p>
          <a:p>
            <a:pPr lvl="1">
              <a:spcAft>
                <a:spcPts val="600"/>
              </a:spcAft>
            </a:pPr>
            <a:r>
              <a:rPr lang="en-US" sz="1800" b="0" kern="0" dirty="0"/>
              <a:t>CMS/AHIP Core Quality Measures Collaborative (CQMC) [ACO/PCMH]</a:t>
            </a:r>
          </a:p>
          <a:p>
            <a:pPr lvl="1">
              <a:spcAft>
                <a:spcPts val="600"/>
              </a:spcAft>
            </a:pPr>
            <a:r>
              <a:rPr lang="en-US" sz="1800" b="0" kern="0" dirty="0"/>
              <a:t>CMS Medicaid Child Core Set</a:t>
            </a:r>
          </a:p>
          <a:p>
            <a:pPr lvl="1">
              <a:spcAft>
                <a:spcPts val="600"/>
              </a:spcAft>
            </a:pPr>
            <a:r>
              <a:rPr lang="en-US" sz="1800" b="0" kern="0" dirty="0"/>
              <a:t>CMS Medicaid Adult Core Set</a:t>
            </a:r>
          </a:p>
          <a:p>
            <a:pPr lvl="1">
              <a:spcAft>
                <a:spcPts val="600"/>
              </a:spcAft>
            </a:pPr>
            <a:r>
              <a:rPr lang="en-US" sz="1800" b="0" kern="0" dirty="0"/>
              <a:t>CMS Medicare Part C &amp; D Star Ratings Measures</a:t>
            </a:r>
          </a:p>
          <a:p>
            <a:pPr lvl="1">
              <a:spcAft>
                <a:spcPts val="600"/>
              </a:spcAft>
            </a:pPr>
            <a:r>
              <a:rPr lang="en-US" sz="1800" b="0" kern="0" dirty="0"/>
              <a:t>CMS Merit-based Incentive Payment System (MIPS)</a:t>
            </a:r>
          </a:p>
          <a:p>
            <a:pPr lvl="1">
              <a:spcAft>
                <a:spcPts val="600"/>
              </a:spcAft>
            </a:pPr>
            <a:r>
              <a:rPr lang="en-US" sz="1800" b="0" kern="0" dirty="0"/>
              <a:t>NCQA Health Plan Ranking</a:t>
            </a:r>
          </a:p>
        </p:txBody>
      </p:sp>
    </p:spTree>
    <p:extLst>
      <p:ext uri="{BB962C8B-B14F-4D97-AF65-F5344CB8AC3E}">
        <p14:creationId xmlns:p14="http://schemas.microsoft.com/office/powerpoint/2010/main" val="874104658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ventive Care Measures:</a:t>
            </a:r>
            <a:br>
              <a:rPr lang="en-US" dirty="0"/>
            </a:br>
            <a:r>
              <a:rPr lang="en-US" dirty="0"/>
              <a:t>Well-Visits and Assessments</a:t>
            </a:r>
          </a:p>
        </p:txBody>
      </p:sp>
      <p:graphicFrame>
        <p:nvGraphicFramePr>
          <p:cNvPr id="7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55459744"/>
              </p:ext>
            </p:extLst>
          </p:nvPr>
        </p:nvGraphicFramePr>
        <p:xfrm>
          <a:off x="340378" y="1143000"/>
          <a:ext cx="8463244" cy="4975860"/>
        </p:xfrm>
        <a:graphic>
          <a:graphicData uri="http://schemas.openxmlformats.org/drawingml/2006/table">
            <a:tbl>
              <a:tblPr/>
              <a:tblGrid>
                <a:gridCol w="914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00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270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110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103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238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NQF#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Measure Labe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Stewar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  Data Sourc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Coun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5760">
                <a:tc gridSpan="5">
                  <a:txBody>
                    <a:bodyPr/>
                    <a:lstStyle/>
                    <a:p>
                      <a:pPr marL="91440" algn="l" fontAlgn="t"/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diatric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60325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 baseline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1649285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3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60325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ll-Child Visits in the First 15 Months of Lif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CQA HEDI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laim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3790089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5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0325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ll-Child Visits in the 3rd, 4th, 5th, and 6th Years of Life</a:t>
                      </a:r>
                      <a:r>
                        <a:rPr lang="en-US" sz="1600" kern="1200" baseline="30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CQA HEDI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laim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2179421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0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60325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ight Assessment and Counseling for Nutrition and Physical Activity for Children/ Adolescent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CQA HEDI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laims/Clinical Dat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1249814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0325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velopmental Screening for Behavioral Health Needs: Under Age 21*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A EOHH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laim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517970"/>
                  </a:ext>
                </a:extLst>
              </a:tr>
              <a:tr h="365760">
                <a:tc gridSpan="5">
                  <a:txBody>
                    <a:bodyPr/>
                    <a:lstStyle/>
                    <a:p>
                      <a:pPr marL="91440" algn="l" fontAlgn="t"/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dolescen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60325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 baseline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0311594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603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olescent Well-Care Visi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CQA HEDI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laim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8074805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5266267" y="6119336"/>
            <a:ext cx="35052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>
                <a:latin typeface="Book Antiqua" panose="02040602050305030304" pitchFamily="18" charset="0"/>
              </a:rPr>
              <a:t>*MassHealth ACO/DSRIP-only measure.</a:t>
            </a:r>
          </a:p>
          <a:p>
            <a:r>
              <a:rPr lang="en-US" sz="1400" i="1" baseline="30000" dirty="0">
                <a:latin typeface="Book Antiqua" panose="02040602050305030304" pitchFamily="18" charset="0"/>
              </a:rPr>
              <a:t>+</a:t>
            </a:r>
            <a:r>
              <a:rPr lang="en-US" sz="1400" i="1" dirty="0">
                <a:latin typeface="Book Antiqua" panose="02040602050305030304" pitchFamily="18" charset="0"/>
              </a:rPr>
              <a:t>This measure does not have opportunity for improvement.</a:t>
            </a:r>
          </a:p>
        </p:txBody>
      </p:sp>
    </p:spTree>
    <p:extLst>
      <p:ext uri="{BB962C8B-B14F-4D97-AF65-F5344CB8AC3E}">
        <p14:creationId xmlns:p14="http://schemas.microsoft.com/office/powerpoint/2010/main" val="3679309111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ventive Care Measures:</a:t>
            </a:r>
            <a:br>
              <a:rPr lang="en-US" dirty="0"/>
            </a:br>
            <a:r>
              <a:rPr lang="en-US" dirty="0"/>
              <a:t>Well-Visits and Assessments (Cont'd)</a:t>
            </a:r>
          </a:p>
        </p:txBody>
      </p:sp>
      <p:graphicFrame>
        <p:nvGraphicFramePr>
          <p:cNvPr id="7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29498494"/>
              </p:ext>
            </p:extLst>
          </p:nvPr>
        </p:nvGraphicFramePr>
        <p:xfrm>
          <a:off x="340378" y="1143000"/>
          <a:ext cx="8463244" cy="2152650"/>
        </p:xfrm>
        <a:graphic>
          <a:graphicData uri="http://schemas.openxmlformats.org/drawingml/2006/table">
            <a:tbl>
              <a:tblPr/>
              <a:tblGrid>
                <a:gridCol w="914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00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270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110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103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238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NQF#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Measure Labe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Stewar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  Data Sourc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Coun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5760">
                <a:tc gridSpan="5">
                  <a:txBody>
                    <a:bodyPr/>
                    <a:lstStyle/>
                    <a:p>
                      <a:pPr marL="91440" algn="l" fontAlgn="t"/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dul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60325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 baseline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912256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0325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ult BMI Assessmen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CQA HEDI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laims/Clinical Dat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4379100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4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60325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MI Screening and Follow-Up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M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linical Dat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17440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75777253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ventive Care Measures:</a:t>
            </a:r>
            <a:br>
              <a:rPr lang="en-US" dirty="0"/>
            </a:br>
            <a:r>
              <a:rPr lang="en-US" dirty="0"/>
              <a:t>Immunization and Screening</a:t>
            </a:r>
          </a:p>
        </p:txBody>
      </p:sp>
      <p:graphicFrame>
        <p:nvGraphicFramePr>
          <p:cNvPr id="7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75706658"/>
              </p:ext>
            </p:extLst>
          </p:nvPr>
        </p:nvGraphicFramePr>
        <p:xfrm>
          <a:off x="340378" y="1143000"/>
          <a:ext cx="8463244" cy="3981450"/>
        </p:xfrm>
        <a:graphic>
          <a:graphicData uri="http://schemas.openxmlformats.org/drawingml/2006/table">
            <a:tbl>
              <a:tblPr/>
              <a:tblGrid>
                <a:gridCol w="914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00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270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110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103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238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NQF#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Measure Labe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Stewar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  Data Sourc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Coun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5760">
                <a:tc gridSpan="5">
                  <a:txBody>
                    <a:bodyPr/>
                    <a:lstStyle/>
                    <a:p>
                      <a:pPr marL="91440" algn="l" fontAlgn="t"/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diatric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60325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 baseline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1649285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0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0325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ildhood Immunization Statu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CQA HEDI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laims/Clinical Dat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5883180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4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60325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munizations for Adolescents (includes HPV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CQA HEDI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laims/Clinical Dat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3790089"/>
                  </a:ext>
                </a:extLst>
              </a:tr>
              <a:tr h="365760">
                <a:tc gridSpan="5">
                  <a:txBody>
                    <a:bodyPr/>
                    <a:lstStyle/>
                    <a:p>
                      <a:pPr marL="91440" algn="l" fontAlgn="t"/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dolescen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60325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 baseline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0311594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0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03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lamydia Screening – </a:t>
                      </a:r>
                    </a:p>
                    <a:p>
                      <a:pPr marL="603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ges 16-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CQA</a:t>
                      </a: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HEDIS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laim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8074805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0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603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lamydia Screening – </a:t>
                      </a:r>
                    </a:p>
                    <a:p>
                      <a:pPr marL="603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ges 21-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CQA</a:t>
                      </a: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HEDIS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laim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29966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75411519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ventive Care Measures:</a:t>
            </a:r>
            <a:br>
              <a:rPr lang="en-US" dirty="0"/>
            </a:br>
            <a:r>
              <a:rPr lang="en-US" dirty="0"/>
              <a:t>Immunization and Screening (Cont’d)</a:t>
            </a:r>
          </a:p>
        </p:txBody>
      </p:sp>
      <p:graphicFrame>
        <p:nvGraphicFramePr>
          <p:cNvPr id="7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37868773"/>
              </p:ext>
            </p:extLst>
          </p:nvPr>
        </p:nvGraphicFramePr>
        <p:xfrm>
          <a:off x="340378" y="1143000"/>
          <a:ext cx="8463244" cy="2518410"/>
        </p:xfrm>
        <a:graphic>
          <a:graphicData uri="http://schemas.openxmlformats.org/drawingml/2006/table">
            <a:tbl>
              <a:tblPr/>
              <a:tblGrid>
                <a:gridCol w="914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00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270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110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103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238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NQF#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Measure Labe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Stewar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  Data Sourc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Coun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5760">
                <a:tc gridSpan="5">
                  <a:txBody>
                    <a:bodyPr/>
                    <a:lstStyle/>
                    <a:p>
                      <a:pPr marL="91440" algn="l" fontAlgn="t"/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dul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60325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 baseline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1649285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039</a:t>
                      </a:r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t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No longer endorsed)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0325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lu Vaccinations for Adults Ages 18–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CQA HEDI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urvey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3790089"/>
                  </a:ext>
                </a:extLst>
              </a:tr>
              <a:tr h="365760">
                <a:tc gridSpan="5">
                  <a:txBody>
                    <a:bodyPr/>
                    <a:lstStyle/>
                    <a:p>
                      <a:pPr marL="91440" algn="l" fontAlgn="t"/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ll Age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60325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 baseline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0311594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0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603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fluenza Immunizatio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MA-PCPI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laims/Clinical Dat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80748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47731614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645920"/>
            <a:ext cx="8077200" cy="4556234"/>
          </a:xfrm>
        </p:spPr>
        <p:txBody>
          <a:bodyPr/>
          <a:lstStyle/>
          <a:p>
            <a:r>
              <a:rPr lang="en-US" dirty="0"/>
              <a:t>Welcome</a:t>
            </a:r>
          </a:p>
          <a:p>
            <a:r>
              <a:rPr lang="en-US" dirty="0"/>
              <a:t>Health Plan Perspectives</a:t>
            </a:r>
          </a:p>
          <a:p>
            <a:r>
              <a:rPr lang="en-US" dirty="0"/>
              <a:t>Research on Experience with Multi-Payer Aligned Measure Sets in Other States</a:t>
            </a:r>
          </a:p>
          <a:p>
            <a:r>
              <a:rPr lang="en-US" dirty="0"/>
              <a:t>Recap of 7-18-17 Meeting Discussion of Domains</a:t>
            </a:r>
          </a:p>
          <a:p>
            <a:r>
              <a:rPr lang="en-US" dirty="0"/>
              <a:t>Review Candidate Measures</a:t>
            </a:r>
          </a:p>
          <a:p>
            <a:r>
              <a:rPr lang="en-US" dirty="0"/>
              <a:t>Next Steps</a:t>
            </a:r>
          </a:p>
        </p:txBody>
      </p:sp>
      <p:sp>
        <p:nvSpPr>
          <p:cNvPr id="4" name="Rectangle 3"/>
          <p:cNvSpPr/>
          <p:nvPr/>
        </p:nvSpPr>
        <p:spPr>
          <a:xfrm>
            <a:off x="-83127" y="1600200"/>
            <a:ext cx="9448800" cy="533400"/>
          </a:xfrm>
          <a:prstGeom prst="rect">
            <a:avLst/>
          </a:prstGeom>
          <a:solidFill>
            <a:srgbClr val="FFC000">
              <a:alpha val="3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5493892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ventive Care Measures:</a:t>
            </a:r>
            <a:br>
              <a:rPr lang="en-US" dirty="0"/>
            </a:br>
            <a:r>
              <a:rPr lang="en-US" dirty="0"/>
              <a:t>Cancer Screening</a:t>
            </a:r>
          </a:p>
        </p:txBody>
      </p:sp>
      <p:graphicFrame>
        <p:nvGraphicFramePr>
          <p:cNvPr id="7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54657440"/>
              </p:ext>
            </p:extLst>
          </p:nvPr>
        </p:nvGraphicFramePr>
        <p:xfrm>
          <a:off x="340378" y="1143000"/>
          <a:ext cx="8463244" cy="2884170"/>
        </p:xfrm>
        <a:graphic>
          <a:graphicData uri="http://schemas.openxmlformats.org/drawingml/2006/table">
            <a:tbl>
              <a:tblPr/>
              <a:tblGrid>
                <a:gridCol w="914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00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270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110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103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238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NQF#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Measure Labe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Stewar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  Data Sourc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Coun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5760">
                <a:tc gridSpan="5">
                  <a:txBody>
                    <a:bodyPr/>
                    <a:lstStyle/>
                    <a:p>
                      <a:pPr marL="91440" algn="l" fontAlgn="t"/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dul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60325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 baseline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1649285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0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0325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rectal Cancer Screenin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CQA HEDI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laims/Clinical Dat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5883180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0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60325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rvical Cancer Screenin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CQA HEDI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laims/Clinical Dat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3790089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3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0325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reast Cancer Screenin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CQA HEDI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laim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12498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99541143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ventive Care Measures:</a:t>
            </a:r>
            <a:br>
              <a:rPr lang="en-US" dirty="0"/>
            </a:br>
            <a:r>
              <a:rPr lang="en-US" dirty="0"/>
              <a:t>Other</a:t>
            </a:r>
          </a:p>
        </p:txBody>
      </p:sp>
      <p:graphicFrame>
        <p:nvGraphicFramePr>
          <p:cNvPr id="7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47064812"/>
              </p:ext>
            </p:extLst>
          </p:nvPr>
        </p:nvGraphicFramePr>
        <p:xfrm>
          <a:off x="340378" y="1143000"/>
          <a:ext cx="8463244" cy="4356735"/>
        </p:xfrm>
        <a:graphic>
          <a:graphicData uri="http://schemas.openxmlformats.org/drawingml/2006/table">
            <a:tbl>
              <a:tblPr/>
              <a:tblGrid>
                <a:gridCol w="914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00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270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110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103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238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NQF#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Measure Labe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Stewar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  Data Sourc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Coun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5760">
                <a:tc gridSpan="5">
                  <a:txBody>
                    <a:bodyPr/>
                    <a:lstStyle/>
                    <a:p>
                      <a:pPr marL="91440" algn="l" fontAlgn="t"/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ental (Pediatric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60325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 baseline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1649285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5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60325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al Evaluation, Dental Services*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ental Quality Allianc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laim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3790089"/>
                  </a:ext>
                </a:extLst>
              </a:tr>
              <a:tr h="365760">
                <a:tc gridSpan="5">
                  <a:txBody>
                    <a:bodyPr/>
                    <a:lstStyle/>
                    <a:p>
                      <a:pPr marL="91440" algn="l" fontAlgn="t"/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obacco Use</a:t>
                      </a:r>
                      <a:r>
                        <a:rPr lang="en-US" sz="1600" b="1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(</a:t>
                      </a:r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dult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603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 baseline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22630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0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0325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bacco Use: Screening and Cessation Interventio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MA-PCPI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laims/Clinical Dat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2996689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0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60325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dical Assistance with Smoking and Tobacco Use Cessatio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CQA HEDI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urvey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378114"/>
                  </a:ext>
                </a:extLst>
              </a:tr>
              <a:tr h="365760">
                <a:tc gridSpan="5">
                  <a:txBody>
                    <a:bodyPr/>
                    <a:lstStyle/>
                    <a:p>
                      <a:pPr marL="9144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ccess</a:t>
                      </a:r>
                      <a:r>
                        <a:rPr lang="en-US" sz="1600" b="1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(Adult)</a:t>
                      </a:r>
                      <a:endParaRPr lang="en-US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603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 baseline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7451791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03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ults' Access to Preventive/Ambulatory Health Service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CQA HEDI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laim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8689357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5266267" y="6477000"/>
            <a:ext cx="3505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>
                <a:latin typeface="Book Antiqua" panose="02040602050305030304" pitchFamily="18" charset="0"/>
              </a:rPr>
              <a:t>*MassHealth ACO/DSRIP-only measure.</a:t>
            </a:r>
          </a:p>
        </p:txBody>
      </p:sp>
    </p:spTree>
    <p:extLst>
      <p:ext uri="{BB962C8B-B14F-4D97-AF65-F5344CB8AC3E}">
        <p14:creationId xmlns:p14="http://schemas.microsoft.com/office/powerpoint/2010/main" val="995901460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havioral Health Care Measures:</a:t>
            </a:r>
            <a:br>
              <a:rPr lang="en-US" dirty="0"/>
            </a:br>
            <a:r>
              <a:rPr lang="en-US" dirty="0"/>
              <a:t>Mental Health</a:t>
            </a:r>
          </a:p>
        </p:txBody>
      </p:sp>
      <p:graphicFrame>
        <p:nvGraphicFramePr>
          <p:cNvPr id="7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76520431"/>
              </p:ext>
            </p:extLst>
          </p:nvPr>
        </p:nvGraphicFramePr>
        <p:xfrm>
          <a:off x="340378" y="1143000"/>
          <a:ext cx="8463244" cy="5370195"/>
        </p:xfrm>
        <a:graphic>
          <a:graphicData uri="http://schemas.openxmlformats.org/drawingml/2006/table">
            <a:tbl>
              <a:tblPr/>
              <a:tblGrid>
                <a:gridCol w="914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00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270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110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103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238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NQF#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Measure Labe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Stewar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  Data Sourc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Coun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5760">
                <a:tc gridSpan="5">
                  <a:txBody>
                    <a:bodyPr/>
                    <a:lstStyle/>
                    <a:p>
                      <a:pPr marL="91440" algn="l" fontAlgn="t"/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diatric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60325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 baseline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1649285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1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60325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llow-Up Care for Children Prescribed ADHD Medication - Initiation Phas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CQA</a:t>
                      </a: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HEDIS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laim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5883180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1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0325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llow-Up Care for Children Prescribed ADHD Medication - Continuation &amp; Maintenance Phas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CQA</a:t>
                      </a: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HEDIS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laim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3790089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3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60325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ild and Adolescent Major Depressive Disorder: Suicide Risk Assessmen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MA-PCPI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linical Dat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9858219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0325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abolic Monitoring for Children and Adolescents on Antipsychotic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CQA HEDI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laim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5234635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8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60325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 of First-Line Psychosocial Care for Children and Adolescents on Antipsychotic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CQA HEDI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laim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7862122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0325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 of Multiple Concurrent Antipsychotics in Children and Adolescent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CQA HEDI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laim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44632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30520718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havioral Health Care Measures:</a:t>
            </a:r>
            <a:br>
              <a:rPr lang="en-US" dirty="0"/>
            </a:br>
            <a:r>
              <a:rPr lang="en-US" dirty="0"/>
              <a:t>Mental Health (Cont'd)</a:t>
            </a:r>
          </a:p>
        </p:txBody>
      </p:sp>
      <p:graphicFrame>
        <p:nvGraphicFramePr>
          <p:cNvPr id="7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06701938"/>
              </p:ext>
            </p:extLst>
          </p:nvPr>
        </p:nvGraphicFramePr>
        <p:xfrm>
          <a:off x="340378" y="1143000"/>
          <a:ext cx="8463244" cy="5177790"/>
        </p:xfrm>
        <a:graphic>
          <a:graphicData uri="http://schemas.openxmlformats.org/drawingml/2006/table">
            <a:tbl>
              <a:tblPr/>
              <a:tblGrid>
                <a:gridCol w="80262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29000">
                  <a:extLst>
                    <a:ext uri="{9D8B030D-6E8A-4147-A177-3AD203B41FA5}">
                      <a16:colId xmlns:a16="http://schemas.microsoft.com/office/drawing/2014/main" val="1704334319"/>
                    </a:ext>
                  </a:extLst>
                </a:gridCol>
                <a:gridCol w="1410226">
                  <a:extLst>
                    <a:ext uri="{9D8B030D-6E8A-4147-A177-3AD203B41FA5}">
                      <a16:colId xmlns:a16="http://schemas.microsoft.com/office/drawing/2014/main" val="2843232685"/>
                    </a:ext>
                  </a:extLst>
                </a:gridCol>
                <a:gridCol w="19110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103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238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NQF#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Measure Labe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Stewar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  Data Sourc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Coun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320">
                <a:tc gridSpan="5">
                  <a:txBody>
                    <a:bodyPr/>
                    <a:lstStyle/>
                    <a:p>
                      <a:pPr marL="91440" algn="l" fontAlgn="t"/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dolescent and Adul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 baseline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1649285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60325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pression Remission Measure Set* </a:t>
                      </a:r>
                    </a:p>
                    <a:p>
                      <a:pPr marL="60325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Utilization of the PHQ-9 to Monitor Depression Symptoms for Adolescents and Adults </a:t>
                      </a:r>
                      <a:r>
                        <a:rPr lang="en-US" sz="1200" i="1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en-US" sz="12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pression Remission or Response for Adolescents and Adults)</a:t>
                      </a:r>
                      <a:endParaRPr lang="en-US" sz="160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A EOHHS </a:t>
                      </a:r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adapted from NCQA HEDIS)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linical Dat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5883180"/>
                  </a:ext>
                </a:extLst>
              </a:tr>
              <a:tr h="274320">
                <a:tc gridSpan="5">
                  <a:txBody>
                    <a:bodyPr/>
                    <a:lstStyle/>
                    <a:p>
                      <a:pPr marL="91440" algn="l" fontAlgn="t"/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dul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 baseline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3790089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1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03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tidepressant Medication Management - Effective </a:t>
                      </a:r>
                    </a:p>
                    <a:p>
                      <a:pPr marL="603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ute Phase Treatmen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CQA</a:t>
                      </a: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HEDIS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laim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3495438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1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603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tidepressant Medication Management - Effective Continuation Phase Treatmen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CQA</a:t>
                      </a: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HEDIS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laim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8074805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7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03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pression Utilization of the PHQ-9 Too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NC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linical Dat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8519399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7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603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pression Remission at Twelve Month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NC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linical Dat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9279535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8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03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pression Response at Twelve Months - Progress Towards Remission</a:t>
                      </a:r>
                      <a:r>
                        <a:rPr lang="en-US" sz="1600" kern="1200" baseline="30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*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NC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linical Dat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4910539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5266267" y="6334780"/>
            <a:ext cx="3505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>
                <a:latin typeface="Book Antiqua" panose="02040602050305030304" pitchFamily="18" charset="0"/>
              </a:rPr>
              <a:t>*MassHealth ACO/DSRIP-only measure.</a:t>
            </a:r>
          </a:p>
          <a:p>
            <a:r>
              <a:rPr lang="en-US" sz="1400" i="1" dirty="0">
                <a:latin typeface="Book Antiqua" panose="02040602050305030304" pitchFamily="18" charset="0"/>
              </a:rPr>
              <a:t>**CMS/AHIP CQMC-only measure.</a:t>
            </a:r>
          </a:p>
        </p:txBody>
      </p:sp>
    </p:spTree>
    <p:extLst>
      <p:ext uri="{BB962C8B-B14F-4D97-AF65-F5344CB8AC3E}">
        <p14:creationId xmlns:p14="http://schemas.microsoft.com/office/powerpoint/2010/main" val="287939159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havioral Health Care Measures:</a:t>
            </a:r>
            <a:br>
              <a:rPr lang="en-US" dirty="0"/>
            </a:br>
            <a:r>
              <a:rPr lang="en-US" dirty="0"/>
              <a:t>Mental Health (Cont'd)</a:t>
            </a:r>
          </a:p>
        </p:txBody>
      </p:sp>
      <p:graphicFrame>
        <p:nvGraphicFramePr>
          <p:cNvPr id="7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30205240"/>
              </p:ext>
            </p:extLst>
          </p:nvPr>
        </p:nvGraphicFramePr>
        <p:xfrm>
          <a:off x="340378" y="1143000"/>
          <a:ext cx="8463244" cy="2884170"/>
        </p:xfrm>
        <a:graphic>
          <a:graphicData uri="http://schemas.openxmlformats.org/drawingml/2006/table">
            <a:tbl>
              <a:tblPr/>
              <a:tblGrid>
                <a:gridCol w="914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00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270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110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103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238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NQF#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Measure Labe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Stewar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  Data Sourc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C000"/>
                          </a:solidFill>
                          <a:effectLst/>
                          <a:latin typeface="+mn-lt"/>
                        </a:rPr>
                        <a:t>Coun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5760">
                <a:tc gridSpan="5">
                  <a:txBody>
                    <a:bodyPr/>
                    <a:lstStyle/>
                    <a:p>
                      <a:pPr marL="9144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ll Age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603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 baseline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2996689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5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60325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llow-Up After Hospitalization for Mental Illness (30-Day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CQ</a:t>
                      </a: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 HEDIS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laim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601903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5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0325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llow-Up After Hospitalization for Mental Illness (7-Day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CQ</a:t>
                      </a: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 HEDIS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laim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3019770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4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60325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reening for Clinical Depression and Follow-Up Pla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M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11125" marR="0" lvl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laims/Clinical Dat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3024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0104446"/>
      </p:ext>
    </p:extLst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645920"/>
            <a:ext cx="8077200" cy="4556234"/>
          </a:xfrm>
        </p:spPr>
        <p:txBody>
          <a:bodyPr/>
          <a:lstStyle/>
          <a:p>
            <a:r>
              <a:rPr lang="en-US" dirty="0"/>
              <a:t>Welcome</a:t>
            </a:r>
          </a:p>
          <a:p>
            <a:r>
              <a:rPr lang="en-US" dirty="0"/>
              <a:t>Health Plan Perspectives</a:t>
            </a:r>
          </a:p>
          <a:p>
            <a:r>
              <a:rPr lang="en-US" dirty="0"/>
              <a:t>Research on Experience with Multi-Payer Aligned Measure Sets in Other States</a:t>
            </a:r>
          </a:p>
          <a:p>
            <a:r>
              <a:rPr lang="en-US" dirty="0"/>
              <a:t>Recap of 7-18-17 Meeting Discussion of Domains</a:t>
            </a:r>
          </a:p>
          <a:p>
            <a:r>
              <a:rPr lang="en-US" dirty="0"/>
              <a:t>Review Candidate Measures</a:t>
            </a:r>
          </a:p>
          <a:p>
            <a:r>
              <a:rPr lang="en-US" dirty="0"/>
              <a:t>Next Steps</a:t>
            </a:r>
          </a:p>
        </p:txBody>
      </p:sp>
      <p:sp>
        <p:nvSpPr>
          <p:cNvPr id="4" name="Rectangle 3"/>
          <p:cNvSpPr/>
          <p:nvPr/>
        </p:nvSpPr>
        <p:spPr>
          <a:xfrm>
            <a:off x="-152400" y="4191000"/>
            <a:ext cx="9448800" cy="533400"/>
          </a:xfrm>
          <a:prstGeom prst="rect">
            <a:avLst/>
          </a:prstGeom>
          <a:solidFill>
            <a:srgbClr val="FFC000">
              <a:alpha val="3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4849363"/>
      </p:ext>
    </p:extLst>
  </p:cSld>
  <p:clrMapOvr>
    <a:masterClrMapping/>
  </p:clrMapOvr>
  <p:transition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Steps: Meeting Schedule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2872817"/>
              </p:ext>
            </p:extLst>
          </p:nvPr>
        </p:nvGraphicFramePr>
        <p:xfrm>
          <a:off x="777240" y="1447800"/>
          <a:ext cx="7589520" cy="4709160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4840459">
                  <a:extLst>
                    <a:ext uri="{9D8B030D-6E8A-4147-A177-3AD203B41FA5}">
                      <a16:colId xmlns:a16="http://schemas.microsoft.com/office/drawing/2014/main" val="919717546"/>
                    </a:ext>
                  </a:extLst>
                </a:gridCol>
                <a:gridCol w="2749061">
                  <a:extLst>
                    <a:ext uri="{9D8B030D-6E8A-4147-A177-3AD203B41FA5}">
                      <a16:colId xmlns:a16="http://schemas.microsoft.com/office/drawing/2014/main" val="2000062168"/>
                    </a:ext>
                  </a:extLst>
                </a:gridCol>
              </a:tblGrid>
              <a:tr h="3200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FFC000"/>
                          </a:solidFill>
                          <a:effectLst/>
                          <a:latin typeface="Book Antiqua" panose="02040602050305030304" pitchFamily="18" charset="0"/>
                        </a:rPr>
                        <a:t>Domain</a:t>
                      </a:r>
                      <a:endParaRPr lang="en-US" sz="1600" b="1" dirty="0">
                        <a:solidFill>
                          <a:srgbClr val="FFC000"/>
                        </a:solidFill>
                        <a:effectLst/>
                        <a:latin typeface="Book Antiqua" panose="0204060205030503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FFC000"/>
                          </a:solidFill>
                          <a:effectLst/>
                          <a:latin typeface="Book Antiqua" panose="02040602050305030304" pitchFamily="18" charset="0"/>
                        </a:rPr>
                        <a:t>Estimated Schedule</a:t>
                      </a:r>
                      <a:endParaRPr lang="en-US" sz="1600" b="1" dirty="0">
                        <a:solidFill>
                          <a:srgbClr val="FFC000"/>
                        </a:solidFill>
                        <a:effectLst/>
                        <a:latin typeface="Book Antiqua" panose="0204060205030503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8058320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</a:rPr>
                        <a:t>Preventive Care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Book Antiqua" panose="0204060205030503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</a:rPr>
                        <a:t>Meeting #3 and #4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Book Antiqua" panose="0204060205030503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93180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</a:rPr>
                        <a:t>Behavioral Health Care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Book Antiqua" panose="0204060205030503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</a:rPr>
                        <a:t>Meeting #4 and #5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Book Antiqua" panose="0204060205030503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51486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</a:rPr>
                        <a:t>Acute Care </a:t>
                      </a:r>
                      <a:r>
                        <a:rPr lang="en-US" sz="1600" b="0" i="1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</a:rPr>
                        <a:t>(including cardiac care and orthopedic care)</a:t>
                      </a:r>
                      <a:endParaRPr lang="en-US" sz="1600" b="0" i="1" dirty="0">
                        <a:solidFill>
                          <a:schemeClr val="tx1"/>
                        </a:solidFill>
                        <a:effectLst/>
                        <a:latin typeface="Book Antiqua" panose="0204060205030503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</a:rPr>
                        <a:t>Meeting #5 and #6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Book Antiqua" panose="0204060205030503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485009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</a:rPr>
                        <a:t>Chronic Illness Care </a:t>
                      </a:r>
                      <a:r>
                        <a:rPr lang="en-US" sz="1600" b="0" i="1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</a:rPr>
                        <a:t>(including cancer care)</a:t>
                      </a:r>
                      <a:endParaRPr lang="en-US" sz="1600" b="0" i="1" dirty="0">
                        <a:solidFill>
                          <a:schemeClr val="tx1"/>
                        </a:solidFill>
                        <a:effectLst/>
                        <a:latin typeface="Book Antiqua" panose="0204060205030503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</a:rPr>
                        <a:t>Meeting #6 and #7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Book Antiqua" panose="0204060205030503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7241761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</a:rPr>
                        <a:t>Maternity Care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Book Antiqua" panose="0204060205030503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</a:rPr>
                        <a:t>Meeting #7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Book Antiqua" panose="0204060205030503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61003745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</a:rPr>
                        <a:t>Care Coordination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Book Antiqua" panose="0204060205030503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</a:rPr>
                        <a:t>Meeting #8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Book Antiqua" panose="0204060205030503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786570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</a:rPr>
                        <a:t>Integration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Book Antiqua" panose="0204060205030503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</a:rPr>
                        <a:t>Meeting #8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Book Antiqua" panose="0204060205030503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462260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</a:rPr>
                        <a:t>Team-based Care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Book Antiqua" panose="0204060205030503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</a:rPr>
                        <a:t>Meeting #8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Book Antiqua" panose="0204060205030503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277598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</a:rPr>
                        <a:t>Equity </a:t>
                      </a:r>
                      <a:r>
                        <a:rPr lang="en-US" sz="1600" b="0" i="1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</a:rPr>
                        <a:t>(disparities)</a:t>
                      </a:r>
                      <a:endParaRPr lang="en-US" sz="1600" b="0" i="1" dirty="0">
                        <a:solidFill>
                          <a:schemeClr val="tx1"/>
                        </a:solidFill>
                        <a:effectLst/>
                        <a:latin typeface="Book Antiqua" panose="0204060205030503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</a:rPr>
                        <a:t>Meeting #8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Book Antiqua" panose="0204060205030503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8820232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</a:rPr>
                        <a:t>Social Determinants of Health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Book Antiqua" panose="0204060205030503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</a:rPr>
                        <a:t>Meeting #8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Book Antiqua" panose="0204060205030503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8981046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</a:rPr>
                        <a:t>Health Behaviors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Book Antiqua" panose="0204060205030503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</a:rPr>
                        <a:t>Meeting #8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Book Antiqua" panose="0204060205030503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4167966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</a:rPr>
                        <a:t>Patient/Provider Communication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Book Antiqua" panose="0204060205030503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</a:rPr>
                        <a:t>Meeting #9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Book Antiqua" panose="0204060205030503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3828197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</a:rPr>
                        <a:t>Patient Engagement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Book Antiqua" panose="0204060205030503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</a:rPr>
                        <a:t>Meeting #9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Book Antiqua" panose="0204060205030503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837441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</a:rPr>
                        <a:t>Patient Experience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Book Antiqua" panose="0204060205030503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</a:rPr>
                        <a:t>Meeting #9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Book Antiqua" panose="0204060205030503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14380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</a:rPr>
                        <a:t>Relationship-Centered Care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Book Antiqua" panose="0204060205030503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</a:rPr>
                        <a:t>Meeting #9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Book Antiqua" panose="0204060205030503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424138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</a:rPr>
                        <a:t>Hospital Care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Book Antiqua" panose="0204060205030503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</a:rPr>
                        <a:t>Meeting #9 (TBD)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Book Antiqua" panose="0204060205030503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6517562"/>
                  </a:ext>
                </a:extLst>
              </a:tr>
            </a:tbl>
          </a:graphicData>
        </a:graphic>
      </p:graphicFrame>
      <p:sp>
        <p:nvSpPr>
          <p:cNvPr id="6" name="Rectangle 5"/>
          <p:cNvSpPr/>
          <p:nvPr/>
        </p:nvSpPr>
        <p:spPr>
          <a:xfrm>
            <a:off x="777240" y="1752600"/>
            <a:ext cx="7589520" cy="609600"/>
          </a:xfrm>
          <a:prstGeom prst="rect">
            <a:avLst/>
          </a:prstGeom>
          <a:solidFill>
            <a:srgbClr val="FFC000">
              <a:alpha val="3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256743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645920"/>
            <a:ext cx="8077200" cy="4556234"/>
          </a:xfrm>
        </p:spPr>
        <p:txBody>
          <a:bodyPr/>
          <a:lstStyle/>
          <a:p>
            <a:r>
              <a:rPr lang="en-US" dirty="0"/>
              <a:t>Welcome</a:t>
            </a:r>
          </a:p>
          <a:p>
            <a:r>
              <a:rPr lang="en-US" dirty="0"/>
              <a:t>Health Plan Perspectives</a:t>
            </a:r>
          </a:p>
          <a:p>
            <a:r>
              <a:rPr lang="en-US" dirty="0"/>
              <a:t>Research on Experience with Multi-Payer Aligned Measure Sets in Other States</a:t>
            </a:r>
          </a:p>
          <a:p>
            <a:r>
              <a:rPr lang="en-US" dirty="0"/>
              <a:t>Recap of 7-18-17 Meeting Discussion of Domains</a:t>
            </a:r>
          </a:p>
          <a:p>
            <a:r>
              <a:rPr lang="en-US" dirty="0"/>
              <a:t>Review Candidate Measures</a:t>
            </a:r>
          </a:p>
          <a:p>
            <a:r>
              <a:rPr lang="en-US" dirty="0"/>
              <a:t>Next Steps</a:t>
            </a:r>
          </a:p>
        </p:txBody>
      </p:sp>
      <p:sp>
        <p:nvSpPr>
          <p:cNvPr id="4" name="Rectangle 3"/>
          <p:cNvSpPr/>
          <p:nvPr/>
        </p:nvSpPr>
        <p:spPr>
          <a:xfrm>
            <a:off x="-152400" y="2057400"/>
            <a:ext cx="9448800" cy="533400"/>
          </a:xfrm>
          <a:prstGeom prst="rect">
            <a:avLst/>
          </a:prstGeom>
          <a:solidFill>
            <a:srgbClr val="FFC000">
              <a:alpha val="3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8586143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CBAAF37-B6DD-47A0-B0BC-7064A10026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lth Plan Perspectiv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2711F72-906F-442B-B6E4-5D0CE4229743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b="0" dirty="0"/>
              <a:t>During the 7-18-17 meeting the Taskforce agreed upon developing an aligned measure set that consists of both “Core” (i.e., universally adopted) and “Menu” (i.e., voluntarily adopted) measures.</a:t>
            </a:r>
          </a:p>
          <a:p>
            <a:pPr marL="0" indent="0">
              <a:buNone/>
            </a:pPr>
            <a:endParaRPr lang="en-US" sz="200" b="0" dirty="0"/>
          </a:p>
          <a:p>
            <a:r>
              <a:rPr lang="en-US" b="0" dirty="0"/>
              <a:t>Since that meeting, some health plans have raised questions about the need to develop such an aligned measure set.</a:t>
            </a:r>
          </a:p>
          <a:p>
            <a:endParaRPr lang="en-US" sz="200" b="0" dirty="0"/>
          </a:p>
          <a:p>
            <a:r>
              <a:rPr lang="en-US" b="0" dirty="0"/>
              <a:t>Before we proceed further with the work of the Taskforce, we will pause to discuss these health plan concerns.</a:t>
            </a:r>
          </a:p>
        </p:txBody>
      </p:sp>
    </p:spTree>
    <p:extLst>
      <p:ext uri="{BB962C8B-B14F-4D97-AF65-F5344CB8AC3E}">
        <p14:creationId xmlns:p14="http://schemas.microsoft.com/office/powerpoint/2010/main" val="3689869915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645920"/>
            <a:ext cx="8077200" cy="4556234"/>
          </a:xfrm>
        </p:spPr>
        <p:txBody>
          <a:bodyPr/>
          <a:lstStyle/>
          <a:p>
            <a:r>
              <a:rPr lang="en-US" dirty="0"/>
              <a:t>Welcome</a:t>
            </a:r>
          </a:p>
          <a:p>
            <a:r>
              <a:rPr lang="en-US" dirty="0"/>
              <a:t>Health Plan Perspectives</a:t>
            </a:r>
          </a:p>
          <a:p>
            <a:r>
              <a:rPr lang="en-US" dirty="0"/>
              <a:t>Research on Experience with Multi-Payer Aligned Measure Sets in Other States</a:t>
            </a:r>
          </a:p>
          <a:p>
            <a:r>
              <a:rPr lang="en-US" dirty="0"/>
              <a:t>Recap of 7-18-17 Meeting Discussion of Domains</a:t>
            </a:r>
          </a:p>
          <a:p>
            <a:r>
              <a:rPr lang="en-US" dirty="0"/>
              <a:t>Review Candidate Measures</a:t>
            </a:r>
          </a:p>
          <a:p>
            <a:r>
              <a:rPr lang="en-US" dirty="0"/>
              <a:t>Next Steps</a:t>
            </a:r>
          </a:p>
        </p:txBody>
      </p:sp>
      <p:sp>
        <p:nvSpPr>
          <p:cNvPr id="5" name="Rectangle 4"/>
          <p:cNvSpPr/>
          <p:nvPr/>
        </p:nvSpPr>
        <p:spPr>
          <a:xfrm>
            <a:off x="-152400" y="2590800"/>
            <a:ext cx="9448800" cy="685800"/>
          </a:xfrm>
          <a:prstGeom prst="rect">
            <a:avLst/>
          </a:prstGeom>
          <a:solidFill>
            <a:srgbClr val="FFC000">
              <a:alpha val="3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0214131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erience with Multi-Payer Aligned Measure Sets in Other States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219200"/>
            <a:ext cx="8077200" cy="5181600"/>
          </a:xfrm>
        </p:spPr>
        <p:txBody>
          <a:bodyPr/>
          <a:lstStyle/>
          <a:p>
            <a:pPr marL="0" indent="0">
              <a:buNone/>
            </a:pPr>
            <a:r>
              <a:rPr lang="en-US" b="0" dirty="0"/>
              <a:t>We reached out to three states that have undertaken multi-payer aligned measure sets:</a:t>
            </a:r>
          </a:p>
          <a:p>
            <a:pPr lvl="1"/>
            <a:r>
              <a:rPr lang="en-US" b="0" dirty="0"/>
              <a:t>RI: Core and Menu</a:t>
            </a:r>
          </a:p>
          <a:p>
            <a:pPr lvl="1"/>
            <a:r>
              <a:rPr lang="en-US" b="0" dirty="0"/>
              <a:t>VT: Core Only</a:t>
            </a:r>
          </a:p>
          <a:p>
            <a:pPr lvl="1"/>
            <a:r>
              <a:rPr lang="en-US" b="0" dirty="0"/>
              <a:t>WA: Menu Only</a:t>
            </a:r>
          </a:p>
          <a:p>
            <a:pPr marL="0" indent="0">
              <a:buNone/>
            </a:pPr>
            <a:endParaRPr lang="en-US" sz="1000" b="0" dirty="0"/>
          </a:p>
          <a:p>
            <a:r>
              <a:rPr lang="en-US" b="0" dirty="0"/>
              <a:t>VT and WA have approximately 10 and 60 measures, respectively. RI has 11 core and 54 menu ACO measures.  </a:t>
            </a:r>
          </a:p>
          <a:p>
            <a:r>
              <a:rPr lang="en-US" b="0" dirty="0"/>
              <a:t>All of these initiatives are relatively new and all distinct.  VT has the most experience (implemented 2014).</a:t>
            </a:r>
          </a:p>
          <a:p>
            <a:r>
              <a:rPr lang="en-US" b="0" dirty="0"/>
              <a:t>The conveners (two state, one non-governmental) are generally satisfied with their efforts to date.  We asked the following four detailed questions of them…</a:t>
            </a:r>
          </a:p>
          <a:p>
            <a:pPr marL="0" indent="0">
              <a:buNone/>
            </a:pPr>
            <a:endParaRPr lang="en-US" sz="300" dirty="0"/>
          </a:p>
        </p:txBody>
      </p:sp>
    </p:spTree>
    <p:extLst>
      <p:ext uri="{BB962C8B-B14F-4D97-AF65-F5344CB8AC3E}">
        <p14:creationId xmlns:p14="http://schemas.microsoft.com/office/powerpoint/2010/main" val="348449120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0269A5D-C25B-49B0-A94D-C269EF110C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erience with Multi-Payer Aligned Measure Sets in Other States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0632C9F-7E79-419A-A362-AC549FB1024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0352" y="1371600"/>
            <a:ext cx="8077200" cy="4556234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i="1" dirty="0"/>
              <a:t>Have you received feedback from plans or providers on whether your measure set is too large or too small?</a:t>
            </a:r>
          </a:p>
          <a:p>
            <a:pPr marL="457200" indent="-457200">
              <a:buFont typeface="+mj-lt"/>
              <a:buAutoNum type="arabicPeriod"/>
            </a:pPr>
            <a:endParaRPr lang="en-US" sz="200" i="1" dirty="0"/>
          </a:p>
          <a:p>
            <a:pPr lvl="1">
              <a:spcAft>
                <a:spcPts val="600"/>
              </a:spcAft>
            </a:pPr>
            <a:r>
              <a:rPr lang="en-US" b="0" dirty="0">
                <a:solidFill>
                  <a:schemeClr val="accent2"/>
                </a:solidFill>
              </a:rPr>
              <a:t>Some plans/providers think the measure set is too large; they typically don’t say the measure set is too small.</a:t>
            </a:r>
          </a:p>
          <a:p>
            <a:pPr lvl="1">
              <a:spcAft>
                <a:spcPts val="600"/>
              </a:spcAft>
            </a:pPr>
            <a:r>
              <a:rPr lang="en-US" b="0" dirty="0">
                <a:solidFill>
                  <a:schemeClr val="accent2"/>
                </a:solidFill>
              </a:rPr>
              <a:t>Some plans/providers specify that the measure set is too large because it includes too many clinical data-based measures.</a:t>
            </a:r>
          </a:p>
          <a:p>
            <a:pPr lvl="1"/>
            <a:r>
              <a:rPr lang="en-US" b="0" dirty="0">
                <a:solidFill>
                  <a:schemeClr val="accent2"/>
                </a:solidFill>
              </a:rPr>
              <a:t>Some concerns are about whether certain measures can be applied in a statistically reliable way at the medical group level.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142594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erience with Multi-Payer Aligned Measure Sets (Cont’d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371600"/>
            <a:ext cx="8077200" cy="4556234"/>
          </a:xfrm>
        </p:spPr>
        <p:txBody>
          <a:bodyPr/>
          <a:lstStyle/>
          <a:p>
            <a:pPr marL="457200" indent="-457200">
              <a:buFont typeface="+mj-lt"/>
              <a:buAutoNum type="arabicPeriod" startAt="2"/>
            </a:pPr>
            <a:r>
              <a:rPr lang="en-US" i="1" dirty="0"/>
              <a:t>What have plans and providers told you about the ease of implementation of your measure set?</a:t>
            </a:r>
          </a:p>
          <a:p>
            <a:pPr marL="457200" indent="-457200">
              <a:buFont typeface="+mj-lt"/>
              <a:buAutoNum type="arabicPeriod" startAt="2"/>
            </a:pPr>
            <a:endParaRPr lang="en-US" sz="200" i="1" dirty="0"/>
          </a:p>
          <a:p>
            <a:pPr lvl="1">
              <a:spcAft>
                <a:spcPts val="600"/>
              </a:spcAft>
            </a:pPr>
            <a:r>
              <a:rPr lang="en-US" b="0" dirty="0">
                <a:solidFill>
                  <a:schemeClr val="accent2"/>
                </a:solidFill>
              </a:rPr>
              <a:t>Concerns are primarily regarding ease of data collection (a preference for claims-based over clinical measures).</a:t>
            </a:r>
          </a:p>
          <a:p>
            <a:pPr lvl="1">
              <a:spcAft>
                <a:spcPts val="600"/>
              </a:spcAft>
            </a:pPr>
            <a:r>
              <a:rPr lang="en-US" b="0" dirty="0">
                <a:solidFill>
                  <a:schemeClr val="accent2"/>
                </a:solidFill>
              </a:rPr>
              <a:t>Many plans and providers prefer HEDIS measure because they are easier to implement; there tends to be more alignment around these measures.</a:t>
            </a:r>
          </a:p>
          <a:p>
            <a:pPr lvl="1">
              <a:spcAft>
                <a:spcPts val="600"/>
              </a:spcAft>
            </a:pPr>
            <a:r>
              <a:rPr lang="en-US" b="0" dirty="0">
                <a:solidFill>
                  <a:schemeClr val="accent2"/>
                </a:solidFill>
              </a:rPr>
              <a:t>There is a lot of variation across plans in terms of implementation.  </a:t>
            </a:r>
          </a:p>
          <a:p>
            <a:pPr lvl="1">
              <a:spcAft>
                <a:spcPts val="600"/>
              </a:spcAft>
            </a:pPr>
            <a:r>
              <a:rPr lang="en-US" b="0" dirty="0">
                <a:solidFill>
                  <a:schemeClr val="accent2"/>
                </a:solidFill>
              </a:rPr>
              <a:t>Additional concerns on the number of topics on which plans and providers need to focu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242605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erience with Multi-Payer Aligned Measure Sets (Cont’d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234966"/>
            <a:ext cx="8382000" cy="5242034"/>
          </a:xfrm>
        </p:spPr>
        <p:txBody>
          <a:bodyPr/>
          <a:lstStyle/>
          <a:p>
            <a:pPr marL="457200" indent="-457200">
              <a:spcAft>
                <a:spcPts val="600"/>
              </a:spcAft>
              <a:buFont typeface="+mj-lt"/>
              <a:buAutoNum type="arabicPeriod" startAt="3"/>
            </a:pPr>
            <a:r>
              <a:rPr lang="en-US" i="1" dirty="0"/>
              <a:t>What would you say have been the relative successes and challenges of your measure set?</a:t>
            </a:r>
          </a:p>
          <a:p>
            <a:pPr marL="457200" indent="-457200">
              <a:spcAft>
                <a:spcPts val="600"/>
              </a:spcAft>
              <a:buFont typeface="+mj-lt"/>
              <a:buAutoNum type="arabicPeriod" startAt="3"/>
            </a:pPr>
            <a:endParaRPr lang="en-US" sz="800" i="1" dirty="0"/>
          </a:p>
          <a:p>
            <a:pPr marL="228600" indent="0">
              <a:spcAft>
                <a:spcPts val="600"/>
              </a:spcAft>
              <a:buNone/>
            </a:pPr>
            <a:r>
              <a:rPr lang="en-US" u="sng" dirty="0">
                <a:solidFill>
                  <a:schemeClr val="accent2"/>
                </a:solidFill>
              </a:rPr>
              <a:t>Successes</a:t>
            </a:r>
          </a:p>
          <a:p>
            <a:pPr lvl="1">
              <a:spcAft>
                <a:spcPts val="600"/>
              </a:spcAft>
            </a:pPr>
            <a:r>
              <a:rPr lang="en-US" b="0" dirty="0">
                <a:solidFill>
                  <a:schemeClr val="accent2"/>
                </a:solidFill>
              </a:rPr>
              <a:t>Good stakeholder engagement and cooperation</a:t>
            </a:r>
          </a:p>
          <a:p>
            <a:pPr lvl="1">
              <a:spcAft>
                <a:spcPts val="600"/>
              </a:spcAft>
            </a:pPr>
            <a:r>
              <a:rPr lang="en-US" b="0" dirty="0">
                <a:solidFill>
                  <a:schemeClr val="accent2"/>
                </a:solidFill>
              </a:rPr>
              <a:t>Annual review processes allow measure sets to be dynamic</a:t>
            </a:r>
          </a:p>
          <a:p>
            <a:pPr lvl="1">
              <a:spcAft>
                <a:spcPts val="600"/>
              </a:spcAft>
            </a:pPr>
            <a:r>
              <a:rPr lang="en-US" b="0" dirty="0">
                <a:solidFill>
                  <a:schemeClr val="accent2"/>
                </a:solidFill>
              </a:rPr>
              <a:t>Able to see improvement in performance over time</a:t>
            </a:r>
          </a:p>
          <a:p>
            <a:pPr marL="346075" lvl="1" indent="0">
              <a:spcAft>
                <a:spcPts val="600"/>
              </a:spcAft>
              <a:buNone/>
            </a:pPr>
            <a:endParaRPr lang="en-US" sz="1000" b="0" dirty="0">
              <a:solidFill>
                <a:schemeClr val="accent2"/>
              </a:solidFill>
            </a:endParaRPr>
          </a:p>
          <a:p>
            <a:pPr marL="228600" indent="0">
              <a:spcAft>
                <a:spcPts val="600"/>
              </a:spcAft>
              <a:buNone/>
            </a:pPr>
            <a:r>
              <a:rPr lang="en-US" u="sng" dirty="0">
                <a:solidFill>
                  <a:schemeClr val="accent2"/>
                </a:solidFill>
              </a:rPr>
              <a:t>Challenges</a:t>
            </a:r>
          </a:p>
          <a:p>
            <a:pPr lvl="1">
              <a:spcAft>
                <a:spcPts val="600"/>
              </a:spcAft>
            </a:pPr>
            <a:r>
              <a:rPr lang="en-US" b="0" dirty="0">
                <a:solidFill>
                  <a:schemeClr val="accent2"/>
                </a:solidFill>
              </a:rPr>
              <a:t>Heavy reliance on process measures instead of outcome measures</a:t>
            </a:r>
          </a:p>
          <a:p>
            <a:pPr lvl="1">
              <a:spcAft>
                <a:spcPts val="600"/>
              </a:spcAft>
            </a:pPr>
            <a:r>
              <a:rPr lang="en-US" b="0" dirty="0">
                <a:solidFill>
                  <a:schemeClr val="accent2"/>
                </a:solidFill>
              </a:rPr>
              <a:t>Stakeholders disagree on the “right” size and content of measure set</a:t>
            </a:r>
          </a:p>
          <a:p>
            <a:pPr lvl="1">
              <a:spcAft>
                <a:spcPts val="600"/>
              </a:spcAft>
            </a:pPr>
            <a:r>
              <a:rPr lang="en-US" b="0" dirty="0">
                <a:solidFill>
                  <a:schemeClr val="accent2"/>
                </a:solidFill>
              </a:rPr>
              <a:t>Statewide measurement and reporting is expensive</a:t>
            </a:r>
          </a:p>
          <a:p>
            <a:pPr lvl="1">
              <a:spcAft>
                <a:spcPts val="600"/>
              </a:spcAft>
            </a:pPr>
            <a:r>
              <a:rPr lang="en-US" b="0" dirty="0">
                <a:solidFill>
                  <a:schemeClr val="accent2"/>
                </a:solidFill>
              </a:rPr>
              <a:t>No current capacity to collect data electronically</a:t>
            </a:r>
          </a:p>
        </p:txBody>
      </p:sp>
    </p:spTree>
    <p:extLst>
      <p:ext uri="{BB962C8B-B14F-4D97-AF65-F5344CB8AC3E}">
        <p14:creationId xmlns:p14="http://schemas.microsoft.com/office/powerpoint/2010/main" val="329209460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8/4/2008 11:33:25 AM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8/4/2008 11:33:24 AM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8/4/2008 11:33:25 AM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8/4/2008 11:33:24 AM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8/4/2008 11:33:25 AM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8/4/2008 11:33:24 AM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8/4/2008 11:33:25 AM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8/4/2008 11:33:24 AM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8/4/2008 11:33:25 AM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8/4/2008 11:33:24 AM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8/4/2008 11:33:25 AM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8/4/2008 11:33:24 AM"/>
</p:tagLst>
</file>

<file path=ppt/theme/_rels/theme12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_rels/theme6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theme1.xml><?xml version="1.0" encoding="utf-8"?>
<a:theme xmlns:a="http://schemas.openxmlformats.org/drawingml/2006/main" name="EOHHS">
  <a:themeElements>
    <a:clrScheme name="">
      <a:dk1>
        <a:srgbClr val="000000"/>
      </a:dk1>
      <a:lt1>
        <a:srgbClr val="FFFFFF"/>
      </a:lt1>
      <a:dk2>
        <a:srgbClr val="003366"/>
      </a:dk2>
      <a:lt2>
        <a:srgbClr val="B4B4B4"/>
      </a:lt2>
      <a:accent1>
        <a:srgbClr val="FFFFCC"/>
      </a:accent1>
      <a:accent2>
        <a:srgbClr val="003399"/>
      </a:accent2>
      <a:accent3>
        <a:srgbClr val="FFFFFF"/>
      </a:accent3>
      <a:accent4>
        <a:srgbClr val="000000"/>
      </a:accent4>
      <a:accent5>
        <a:srgbClr val="FFFFE2"/>
      </a:accent5>
      <a:accent6>
        <a:srgbClr val="002D8A"/>
      </a:accent6>
      <a:hlink>
        <a:srgbClr val="CCCCFF"/>
      </a:hlink>
      <a:folHlink>
        <a:srgbClr val="FFFFFF"/>
      </a:folHlink>
    </a:clrScheme>
    <a:fontScheme name="1_Blue Presentation Template - MA HHS - small logo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1_Blue Presentation Template - MA HHS - small logo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ue Presentation Template - MA HHS - small logos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_blank">
  <a:themeElements>
    <a:clrScheme name="HPC">
      <a:dk1>
        <a:srgbClr val="000000"/>
      </a:dk1>
      <a:lt1>
        <a:srgbClr val="FFFFFF"/>
      </a:lt1>
      <a:dk2>
        <a:srgbClr val="0C2D83"/>
      </a:dk2>
      <a:lt2>
        <a:srgbClr val="DDA041"/>
      </a:lt2>
      <a:accent1>
        <a:srgbClr val="C3CFE1"/>
      </a:accent1>
      <a:accent2>
        <a:srgbClr val="6F8DB9"/>
      </a:accent2>
      <a:accent3>
        <a:srgbClr val="D7E4ED"/>
      </a:accent3>
      <a:accent4>
        <a:srgbClr val="0C6E89"/>
      </a:accent4>
      <a:accent5>
        <a:srgbClr val="D8E4BC"/>
      </a:accent5>
      <a:accent6>
        <a:srgbClr val="002960"/>
      </a:accent6>
      <a:hlink>
        <a:srgbClr val="0066CC"/>
      </a:hlink>
      <a:folHlink>
        <a:srgbClr val="00296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 sz="14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1.xml><?xml version="1.0" encoding="utf-8"?>
<a:theme xmlns:a="http://schemas.openxmlformats.org/drawingml/2006/main" name="7_Blue Presentation Template - MA HHS - small logos">
  <a:themeElements>
    <a:clrScheme name="">
      <a:dk1>
        <a:srgbClr val="000000"/>
      </a:dk1>
      <a:lt1>
        <a:srgbClr val="FFFFFF"/>
      </a:lt1>
      <a:dk2>
        <a:srgbClr val="003366"/>
      </a:dk2>
      <a:lt2>
        <a:srgbClr val="B4B4B4"/>
      </a:lt2>
      <a:accent1>
        <a:srgbClr val="FFFFCC"/>
      </a:accent1>
      <a:accent2>
        <a:srgbClr val="003399"/>
      </a:accent2>
      <a:accent3>
        <a:srgbClr val="FFFFFF"/>
      </a:accent3>
      <a:accent4>
        <a:srgbClr val="000000"/>
      </a:accent4>
      <a:accent5>
        <a:srgbClr val="FFFFE2"/>
      </a:accent5>
      <a:accent6>
        <a:srgbClr val="002D8A"/>
      </a:accent6>
      <a:hlink>
        <a:srgbClr val="CCCCFF"/>
      </a:hlink>
      <a:folHlink>
        <a:srgbClr val="FFFFFF"/>
      </a:folHlink>
    </a:clrScheme>
    <a:fontScheme name="1_Blue Presentation Template - MA HHS - small logo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  <a:txDef>
      <a:spPr/>
      <a:bodyPr/>
      <a:lstStyle>
        <a:defPPr marL="0" indent="0">
          <a:buFont typeface="Wingdings" pitchFamily="2" charset="2"/>
          <a:buNone/>
          <a:defRPr sz="2400" dirty="0" smtClean="0">
            <a:solidFill>
              <a:schemeClr val="dk1"/>
            </a:solidFill>
            <a:latin typeface="Book Antiqua" pitchFamily="18" charset="0"/>
          </a:defRPr>
        </a:defPPr>
      </a:lstStyle>
    </a:txDef>
  </a:objectDefaults>
  <a:extraClrSchemeLst>
    <a:extraClrScheme>
      <a:clrScheme name="1_Blue Presentation Template - MA HHS - small logo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ue Presentation Template - MA HHS - small logos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_Flow">
  <a:themeElements>
    <a:clrScheme name="Flow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Flow">
      <a:majorFont>
        <a:latin typeface="Calibri"/>
        <a:ea typeface=""/>
        <a:cs typeface=""/>
        <a:font script="Jpan" typeface="ＭＳ Ｐゴシック"/>
        <a:font script="Hang" typeface="HY중고딕"/>
        <a:font script="Hans" typeface="隶书"/>
        <a:font script="Hant" typeface="微軟正黑體"/>
        <a:font script="Arab" typeface="Traditional Arabic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Constantia"/>
        <a:ea typeface=""/>
        <a:cs typeface=""/>
        <a:font script="Jpan" typeface="HGP明朝E"/>
        <a:font script="Hang" typeface="HY신명조"/>
        <a:font script="Hans" typeface="宋体"/>
        <a:font script="Hant" typeface="新細明體"/>
        <a:font script="Arab" typeface="Majalla UI"/>
        <a:font script="Hebr" typeface="David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Flow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30000"/>
              </a:schemeClr>
            </a:gs>
            <a:gs pos="43000">
              <a:schemeClr val="phClr">
                <a:tint val="44000"/>
                <a:satMod val="165000"/>
              </a:schemeClr>
            </a:gs>
            <a:gs pos="93000">
              <a:schemeClr val="phClr">
                <a:tint val="15000"/>
                <a:satMod val="165000"/>
              </a:schemeClr>
            </a:gs>
            <a:gs pos="100000">
              <a:schemeClr val="phClr">
                <a:tint val="5000"/>
                <a:satMod val="250000"/>
              </a:schemeClr>
            </a:gs>
          </a:gsLst>
          <a:path path="circle">
            <a:fillToRect l="50000" t="130000" r="50000" b="-30000"/>
          </a:path>
        </a:gradFill>
        <a:gradFill rotWithShape="1">
          <a:gsLst>
            <a:gs pos="0">
              <a:schemeClr val="phClr">
                <a:tint val="98000"/>
                <a:shade val="25000"/>
                <a:satMod val="250000"/>
              </a:schemeClr>
            </a:gs>
            <a:gs pos="68000">
              <a:schemeClr val="phClr">
                <a:tint val="86000"/>
                <a:satMod val="115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path path="circle">
            <a:fillToRect l="50000" t="130000" r="50000" b="-30000"/>
          </a:path>
        </a:gradFill>
      </a:fillStyleLst>
      <a:lnStyleLst>
        <a:ln w="9525" cap="flat" cmpd="sng" algn="ctr">
          <a:solidFill>
            <a:schemeClr val="phClr">
              <a:shade val="50000"/>
              <a:satMod val="103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7150" dist="38100" dir="5400000" algn="ctr" rotWithShape="0">
              <a:schemeClr val="phClr">
                <a:shade val="9000"/>
                <a:alpha val="48000"/>
                <a:satMod val="105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alpha val="48000"/>
                <a:satMod val="105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alpha val="48000"/>
                <a:satMod val="105000"/>
              </a:schemeClr>
            </a:outerShdw>
          </a:effectLst>
          <a:scene3d>
            <a:camera prst="orthographicFront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400000"/>
              </a:schemeClr>
            </a:gs>
            <a:gs pos="25000">
              <a:schemeClr val="phClr">
                <a:tint val="83000"/>
                <a:satMod val="320000"/>
              </a:schemeClr>
            </a:gs>
            <a:gs pos="100000">
              <a:schemeClr val="phClr">
                <a:shade val="15000"/>
                <a:satMod val="320000"/>
              </a:schemeClr>
            </a:gs>
          </a:gsLst>
          <a:path path="circle">
            <a:fillToRect l="10000" t="110000" r="1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50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Blue Presentation Template - MA HHS - small logos">
  <a:themeElements>
    <a:clrScheme name="">
      <a:dk1>
        <a:srgbClr val="000000"/>
      </a:dk1>
      <a:lt1>
        <a:srgbClr val="FFFFFF"/>
      </a:lt1>
      <a:dk2>
        <a:srgbClr val="003366"/>
      </a:dk2>
      <a:lt2>
        <a:srgbClr val="B4B4B4"/>
      </a:lt2>
      <a:accent1>
        <a:srgbClr val="FFFFCC"/>
      </a:accent1>
      <a:accent2>
        <a:srgbClr val="003399"/>
      </a:accent2>
      <a:accent3>
        <a:srgbClr val="FFFFFF"/>
      </a:accent3>
      <a:accent4>
        <a:srgbClr val="000000"/>
      </a:accent4>
      <a:accent5>
        <a:srgbClr val="FFFFE2"/>
      </a:accent5>
      <a:accent6>
        <a:srgbClr val="002D8A"/>
      </a:accent6>
      <a:hlink>
        <a:srgbClr val="CCCCFF"/>
      </a:hlink>
      <a:folHlink>
        <a:srgbClr val="FFFFFF"/>
      </a:folHlink>
    </a:clrScheme>
    <a:fontScheme name="1_Blue Presentation Template - MA HHS - small logo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  <a:txDef>
      <a:spPr/>
      <a:bodyPr/>
      <a:lstStyle>
        <a:defPPr marL="0" indent="0">
          <a:buFont typeface="Wingdings" pitchFamily="2" charset="2"/>
          <a:buNone/>
          <a:defRPr sz="2400" dirty="0" smtClean="0">
            <a:solidFill>
              <a:schemeClr val="dk1"/>
            </a:solidFill>
            <a:latin typeface="Book Antiqua" pitchFamily="18" charset="0"/>
          </a:defRPr>
        </a:defPPr>
      </a:lstStyle>
    </a:txDef>
  </a:objectDefaults>
  <a:extraClrSchemeLst>
    <a:extraClrScheme>
      <a:clrScheme name="1_Blue Presentation Template - MA HHS - small logo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ue Presentation Template - MA HHS - small logos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Blue Presentation Template - MA HHS - small logos">
  <a:themeElements>
    <a:clrScheme name="">
      <a:dk1>
        <a:srgbClr val="000000"/>
      </a:dk1>
      <a:lt1>
        <a:srgbClr val="FFFFFF"/>
      </a:lt1>
      <a:dk2>
        <a:srgbClr val="003366"/>
      </a:dk2>
      <a:lt2>
        <a:srgbClr val="B4B4B4"/>
      </a:lt2>
      <a:accent1>
        <a:srgbClr val="FFFFCC"/>
      </a:accent1>
      <a:accent2>
        <a:srgbClr val="003399"/>
      </a:accent2>
      <a:accent3>
        <a:srgbClr val="FFFFFF"/>
      </a:accent3>
      <a:accent4>
        <a:srgbClr val="000000"/>
      </a:accent4>
      <a:accent5>
        <a:srgbClr val="FFFFE2"/>
      </a:accent5>
      <a:accent6>
        <a:srgbClr val="002D8A"/>
      </a:accent6>
      <a:hlink>
        <a:srgbClr val="CCCCFF"/>
      </a:hlink>
      <a:folHlink>
        <a:srgbClr val="FFFFFF"/>
      </a:folHlink>
    </a:clrScheme>
    <a:fontScheme name="1_Blue Presentation Template - MA HHS - small logo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  <a:txDef>
      <a:spPr/>
      <a:bodyPr/>
      <a:lstStyle>
        <a:defPPr marL="0" indent="0">
          <a:buFont typeface="Wingdings" pitchFamily="2" charset="2"/>
          <a:buNone/>
          <a:defRPr sz="2400" dirty="0" smtClean="0">
            <a:solidFill>
              <a:schemeClr val="dk1"/>
            </a:solidFill>
            <a:latin typeface="Book Antiqua" pitchFamily="18" charset="0"/>
          </a:defRPr>
        </a:defPPr>
      </a:lstStyle>
    </a:txDef>
  </a:objectDefaults>
  <a:extraClrSchemeLst>
    <a:extraClrScheme>
      <a:clrScheme name="1_Blue Presentation Template - MA HHS - small logo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ue Presentation Template - MA HHS - small logos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Blue Presentation Template - MA HHS - small logos">
  <a:themeElements>
    <a:clrScheme name="">
      <a:dk1>
        <a:srgbClr val="000000"/>
      </a:dk1>
      <a:lt1>
        <a:srgbClr val="FFFFFF"/>
      </a:lt1>
      <a:dk2>
        <a:srgbClr val="003366"/>
      </a:dk2>
      <a:lt2>
        <a:srgbClr val="B4B4B4"/>
      </a:lt2>
      <a:accent1>
        <a:srgbClr val="FFFFCC"/>
      </a:accent1>
      <a:accent2>
        <a:srgbClr val="003399"/>
      </a:accent2>
      <a:accent3>
        <a:srgbClr val="FFFFFF"/>
      </a:accent3>
      <a:accent4>
        <a:srgbClr val="000000"/>
      </a:accent4>
      <a:accent5>
        <a:srgbClr val="FFFFE2"/>
      </a:accent5>
      <a:accent6>
        <a:srgbClr val="002D8A"/>
      </a:accent6>
      <a:hlink>
        <a:srgbClr val="CCCCFF"/>
      </a:hlink>
      <a:folHlink>
        <a:srgbClr val="FFFFFF"/>
      </a:folHlink>
    </a:clrScheme>
    <a:fontScheme name="1_Blue Presentation Template - MA HHS - small logo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  <a:txDef>
      <a:spPr/>
      <a:bodyPr/>
      <a:lstStyle>
        <a:defPPr marL="0" indent="0">
          <a:buFont typeface="Wingdings" pitchFamily="2" charset="2"/>
          <a:buNone/>
          <a:defRPr sz="2400" dirty="0" smtClean="0">
            <a:solidFill>
              <a:schemeClr val="dk1"/>
            </a:solidFill>
            <a:latin typeface="Book Antiqua" pitchFamily="18" charset="0"/>
          </a:defRPr>
        </a:defPPr>
      </a:lstStyle>
    </a:txDef>
  </a:objectDefaults>
  <a:extraClrSchemeLst>
    <a:extraClrScheme>
      <a:clrScheme name="1_Blue Presentation Template - MA HHS - small logo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ue Presentation Template - MA HHS - small logos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5_Blue Presentation Template - MA HHS - small logos">
  <a:themeElements>
    <a:clrScheme name="">
      <a:dk1>
        <a:srgbClr val="000000"/>
      </a:dk1>
      <a:lt1>
        <a:srgbClr val="FFFFFF"/>
      </a:lt1>
      <a:dk2>
        <a:srgbClr val="003366"/>
      </a:dk2>
      <a:lt2>
        <a:srgbClr val="B4B4B4"/>
      </a:lt2>
      <a:accent1>
        <a:srgbClr val="FFFFCC"/>
      </a:accent1>
      <a:accent2>
        <a:srgbClr val="003399"/>
      </a:accent2>
      <a:accent3>
        <a:srgbClr val="FFFFFF"/>
      </a:accent3>
      <a:accent4>
        <a:srgbClr val="000000"/>
      </a:accent4>
      <a:accent5>
        <a:srgbClr val="FFFFE2"/>
      </a:accent5>
      <a:accent6>
        <a:srgbClr val="002D8A"/>
      </a:accent6>
      <a:hlink>
        <a:srgbClr val="CCCCFF"/>
      </a:hlink>
      <a:folHlink>
        <a:srgbClr val="FFFFFF"/>
      </a:folHlink>
    </a:clrScheme>
    <a:fontScheme name="1_Blue Presentation Template - MA HHS - small logo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  <a:txDef>
      <a:spPr/>
      <a:bodyPr/>
      <a:lstStyle>
        <a:defPPr marL="0" indent="0">
          <a:buFont typeface="Wingdings" pitchFamily="2" charset="2"/>
          <a:buNone/>
          <a:defRPr sz="2400" dirty="0" smtClean="0">
            <a:solidFill>
              <a:schemeClr val="dk1"/>
            </a:solidFill>
            <a:latin typeface="Book Antiqua" pitchFamily="18" charset="0"/>
          </a:defRPr>
        </a:defPPr>
      </a:lstStyle>
    </a:txDef>
  </a:objectDefaults>
  <a:extraClrSchemeLst>
    <a:extraClrScheme>
      <a:clrScheme name="1_Blue Presentation Template - MA HHS - small logo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ue Presentation Template - MA HHS - small logos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Flow">
  <a:themeElements>
    <a:clrScheme name="Flow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Flow">
      <a:majorFont>
        <a:latin typeface="Calibri"/>
        <a:ea typeface=""/>
        <a:cs typeface=""/>
        <a:font script="Jpan" typeface="ＭＳ Ｐゴシック"/>
        <a:font script="Hang" typeface="HY중고딕"/>
        <a:font script="Hans" typeface="隶书"/>
        <a:font script="Hant" typeface="微軟正黑體"/>
        <a:font script="Arab" typeface="Traditional Arabic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Constantia"/>
        <a:ea typeface=""/>
        <a:cs typeface=""/>
        <a:font script="Jpan" typeface="HGP明朝E"/>
        <a:font script="Hang" typeface="HY신명조"/>
        <a:font script="Hans" typeface="宋体"/>
        <a:font script="Hant" typeface="新細明體"/>
        <a:font script="Arab" typeface="Majalla UI"/>
        <a:font script="Hebr" typeface="David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Flow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30000"/>
              </a:schemeClr>
            </a:gs>
            <a:gs pos="43000">
              <a:schemeClr val="phClr">
                <a:tint val="44000"/>
                <a:satMod val="165000"/>
              </a:schemeClr>
            </a:gs>
            <a:gs pos="93000">
              <a:schemeClr val="phClr">
                <a:tint val="15000"/>
                <a:satMod val="165000"/>
              </a:schemeClr>
            </a:gs>
            <a:gs pos="100000">
              <a:schemeClr val="phClr">
                <a:tint val="5000"/>
                <a:satMod val="250000"/>
              </a:schemeClr>
            </a:gs>
          </a:gsLst>
          <a:path path="circle">
            <a:fillToRect l="50000" t="130000" r="50000" b="-30000"/>
          </a:path>
        </a:gradFill>
        <a:gradFill rotWithShape="1">
          <a:gsLst>
            <a:gs pos="0">
              <a:schemeClr val="phClr">
                <a:tint val="98000"/>
                <a:shade val="25000"/>
                <a:satMod val="250000"/>
              </a:schemeClr>
            </a:gs>
            <a:gs pos="68000">
              <a:schemeClr val="phClr">
                <a:tint val="86000"/>
                <a:satMod val="115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path path="circle">
            <a:fillToRect l="50000" t="130000" r="50000" b="-30000"/>
          </a:path>
        </a:gradFill>
      </a:fillStyleLst>
      <a:lnStyleLst>
        <a:ln w="9525" cap="flat" cmpd="sng" algn="ctr">
          <a:solidFill>
            <a:schemeClr val="phClr">
              <a:shade val="50000"/>
              <a:satMod val="103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7150" dist="38100" dir="5400000" algn="ctr" rotWithShape="0">
              <a:schemeClr val="phClr">
                <a:shade val="9000"/>
                <a:alpha val="48000"/>
                <a:satMod val="105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alpha val="48000"/>
                <a:satMod val="105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alpha val="48000"/>
                <a:satMod val="105000"/>
              </a:schemeClr>
            </a:outerShdw>
          </a:effectLst>
          <a:scene3d>
            <a:camera prst="orthographicFront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400000"/>
              </a:schemeClr>
            </a:gs>
            <a:gs pos="25000">
              <a:schemeClr val="phClr">
                <a:tint val="83000"/>
                <a:satMod val="320000"/>
              </a:schemeClr>
            </a:gs>
            <a:gs pos="100000">
              <a:schemeClr val="phClr">
                <a:shade val="15000"/>
                <a:satMod val="320000"/>
              </a:schemeClr>
            </a:gs>
          </a:gsLst>
          <a:path path="circle">
            <a:fillToRect l="10000" t="110000" r="1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50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5_Office Theme">
  <a:themeElements>
    <a:clrScheme name="HPC">
      <a:dk1>
        <a:srgbClr val="000000"/>
      </a:dk1>
      <a:lt1>
        <a:srgbClr val="FFFFFF"/>
      </a:lt1>
      <a:dk2>
        <a:srgbClr val="0C2D83"/>
      </a:dk2>
      <a:lt2>
        <a:srgbClr val="DDA041"/>
      </a:lt2>
      <a:accent1>
        <a:srgbClr val="C3CFE1"/>
      </a:accent1>
      <a:accent2>
        <a:srgbClr val="6F8DB9"/>
      </a:accent2>
      <a:accent3>
        <a:srgbClr val="D7E4ED"/>
      </a:accent3>
      <a:accent4>
        <a:srgbClr val="0C6E89"/>
      </a:accent4>
      <a:accent5>
        <a:srgbClr val="D8E4BC"/>
      </a:accent5>
      <a:accent6>
        <a:srgbClr val="002960"/>
      </a:accent6>
      <a:hlink>
        <a:srgbClr val="0066CC"/>
      </a:hlink>
      <a:folHlink>
        <a:srgbClr val="00296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 sz="14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8.xml><?xml version="1.0" encoding="utf-8"?>
<a:theme xmlns:a="http://schemas.openxmlformats.org/drawingml/2006/main" name="6_Office Theme">
  <a:themeElements>
    <a:clrScheme name="HPC">
      <a:dk1>
        <a:srgbClr val="000000"/>
      </a:dk1>
      <a:lt1>
        <a:srgbClr val="FFFFFF"/>
      </a:lt1>
      <a:dk2>
        <a:srgbClr val="0C2D83"/>
      </a:dk2>
      <a:lt2>
        <a:srgbClr val="DDA041"/>
      </a:lt2>
      <a:accent1>
        <a:srgbClr val="C3CFE1"/>
      </a:accent1>
      <a:accent2>
        <a:srgbClr val="6F8DB9"/>
      </a:accent2>
      <a:accent3>
        <a:srgbClr val="D7E4ED"/>
      </a:accent3>
      <a:accent4>
        <a:srgbClr val="0C6E89"/>
      </a:accent4>
      <a:accent5>
        <a:srgbClr val="D8E4BC"/>
      </a:accent5>
      <a:accent6>
        <a:srgbClr val="002960"/>
      </a:accent6>
      <a:hlink>
        <a:srgbClr val="0066CC"/>
      </a:hlink>
      <a:folHlink>
        <a:srgbClr val="00296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 sz="14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9.xml><?xml version="1.0" encoding="utf-8"?>
<a:theme xmlns:a="http://schemas.openxmlformats.org/drawingml/2006/main" name="blank">
  <a:themeElements>
    <a:clrScheme name="HPC">
      <a:dk1>
        <a:srgbClr val="000000"/>
      </a:dk1>
      <a:lt1>
        <a:srgbClr val="FFFFFF"/>
      </a:lt1>
      <a:dk2>
        <a:srgbClr val="0C2D83"/>
      </a:dk2>
      <a:lt2>
        <a:srgbClr val="DDA041"/>
      </a:lt2>
      <a:accent1>
        <a:srgbClr val="C3CFE1"/>
      </a:accent1>
      <a:accent2>
        <a:srgbClr val="6F8DB9"/>
      </a:accent2>
      <a:accent3>
        <a:srgbClr val="D7E4ED"/>
      </a:accent3>
      <a:accent4>
        <a:srgbClr val="0C6E89"/>
      </a:accent4>
      <a:accent5>
        <a:srgbClr val="D8E4BC"/>
      </a:accent5>
      <a:accent6>
        <a:srgbClr val="002960"/>
      </a:accent6>
      <a:hlink>
        <a:srgbClr val="0066CC"/>
      </a:hlink>
      <a:folHlink>
        <a:srgbClr val="00296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 sz="14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3F9B95F2EE52B4E9FB130DEE3F78C09" ma:contentTypeVersion="4" ma:contentTypeDescription="Create a new document." ma:contentTypeScope="" ma:versionID="edaa0dd4fde0f1edcc2b3f591dfd3116">
  <xsd:schema xmlns:xsd="http://www.w3.org/2001/XMLSchema" xmlns:xs="http://www.w3.org/2001/XMLSchema" xmlns:p="http://schemas.microsoft.com/office/2006/metadata/properties" xmlns:ns2="d29a8555-db37-4257-91ea-e6d336cdedf2" xmlns:ns3="34dc536f-1af3-405a-935d-0fb3b6674883" targetNamespace="http://schemas.microsoft.com/office/2006/metadata/properties" ma:root="true" ma:fieldsID="753a324b6a17aebf06d354df67dc1485" ns2:_="" ns3:_="">
    <xsd:import namespace="d29a8555-db37-4257-91ea-e6d336cdedf2"/>
    <xsd:import namespace="34dc536f-1af3-405a-935d-0fb3b6674883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9a8555-db37-4257-91ea-e6d336cdedf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4dc536f-1af3-405a-935d-0fb3b667488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d29a8555-db37-4257-91ea-e6d336cdedf2">
      <UserInfo>
        <DisplayName>Michael Bailit</DisplayName>
        <AccountId>22</AccountId>
        <AccountType/>
      </UserInfo>
      <UserInfo>
        <DisplayName>Deepti Kanneganti</DisplayName>
        <AccountId>15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7462C3C6-3E64-4F66-8292-8DAEACA6EE6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7AC78CB-EBFB-4D8F-A7B9-9BB8F0B3A70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29a8555-db37-4257-91ea-e6d336cdedf2"/>
    <ds:schemaRef ds:uri="34dc536f-1af3-405a-935d-0fb3b667488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3D51BB9-DEB6-4460-8125-E187CA6439EC}">
  <ds:schemaRefs>
    <ds:schemaRef ds:uri="http://purl.org/dc/dcmitype/"/>
    <ds:schemaRef ds:uri="http://www.w3.org/XML/1998/namespace"/>
    <ds:schemaRef ds:uri="http://schemas.microsoft.com/office/2006/documentManagement/types"/>
    <ds:schemaRef ds:uri="http://purl.org/dc/terms/"/>
    <ds:schemaRef ds:uri="http://purl.org/dc/elements/1.1/"/>
    <ds:schemaRef ds:uri="d29a8555-db37-4257-91ea-e6d336cdedf2"/>
    <ds:schemaRef ds:uri="http://schemas.microsoft.com/office/infopath/2007/PartnerControls"/>
    <ds:schemaRef ds:uri="http://schemas.openxmlformats.org/package/2006/metadata/core-properties"/>
    <ds:schemaRef ds:uri="34dc536f-1af3-405a-935d-0fb3b6674883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Quality%20Measurement%20Taskforce%20Meeting%203_08082017</Template>
  <TotalTime>17</TotalTime>
  <Words>1934</Words>
  <Application>Microsoft Office PowerPoint</Application>
  <PresentationFormat>On-screen Show (4:3)</PresentationFormat>
  <Paragraphs>440</Paragraphs>
  <Slides>2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49" baseType="lpstr">
      <vt:lpstr>Arial Unicode MS</vt:lpstr>
      <vt:lpstr>Arial</vt:lpstr>
      <vt:lpstr>Book Antiqua</vt:lpstr>
      <vt:lpstr>Calibri</vt:lpstr>
      <vt:lpstr>Constantia</vt:lpstr>
      <vt:lpstr>Garamond</vt:lpstr>
      <vt:lpstr>Symbol</vt:lpstr>
      <vt:lpstr>Times New Roman</vt:lpstr>
      <vt:lpstr>Wingdings</vt:lpstr>
      <vt:lpstr>Wingdings 2</vt:lpstr>
      <vt:lpstr>EOHHS</vt:lpstr>
      <vt:lpstr>2_Blue Presentation Template - MA HHS - small logos</vt:lpstr>
      <vt:lpstr>3_Blue Presentation Template - MA HHS - small logos</vt:lpstr>
      <vt:lpstr>4_Blue Presentation Template - MA HHS - small logos</vt:lpstr>
      <vt:lpstr>5_Blue Presentation Template - MA HHS - small logos</vt:lpstr>
      <vt:lpstr>Flow</vt:lpstr>
      <vt:lpstr>5_Office Theme</vt:lpstr>
      <vt:lpstr>6_Office Theme</vt:lpstr>
      <vt:lpstr>blank</vt:lpstr>
      <vt:lpstr>1_blank</vt:lpstr>
      <vt:lpstr>7_Blue Presentation Template - MA HHS - small logos</vt:lpstr>
      <vt:lpstr>1_Flow</vt:lpstr>
      <vt:lpstr>think-cell Slide</vt:lpstr>
      <vt:lpstr>PowerPoint Presentation</vt:lpstr>
      <vt:lpstr>Agenda</vt:lpstr>
      <vt:lpstr>Agenda</vt:lpstr>
      <vt:lpstr>Health Plan Perspectives</vt:lpstr>
      <vt:lpstr>Agenda</vt:lpstr>
      <vt:lpstr>Experience with Multi-Payer Aligned Measure Sets in Other States </vt:lpstr>
      <vt:lpstr>Experience with Multi-Payer Aligned Measure Sets in Other States </vt:lpstr>
      <vt:lpstr>Experience with Multi-Payer Aligned Measure Sets (Cont’d)</vt:lpstr>
      <vt:lpstr>Experience with Multi-Payer Aligned Measure Sets (Cont’d)</vt:lpstr>
      <vt:lpstr>Experience with Multi-Payer Aligned Measure Sets (Cont’d)</vt:lpstr>
      <vt:lpstr>Agenda</vt:lpstr>
      <vt:lpstr>Recap of 7-18-17 Meeting Discussion: Performance Domains</vt:lpstr>
      <vt:lpstr>Agenda</vt:lpstr>
      <vt:lpstr>Review Candidate Measures: Criteria for Candidate Set</vt:lpstr>
      <vt:lpstr>Candidate Measure Sources</vt:lpstr>
      <vt:lpstr>Preventive Care Measures: Well-Visits and Assessments</vt:lpstr>
      <vt:lpstr>Preventive Care Measures: Well-Visits and Assessments (Cont'd)</vt:lpstr>
      <vt:lpstr>Preventive Care Measures: Immunization and Screening</vt:lpstr>
      <vt:lpstr>Preventive Care Measures: Immunization and Screening (Cont’d)</vt:lpstr>
      <vt:lpstr>Preventive Care Measures: Cancer Screening</vt:lpstr>
      <vt:lpstr>Preventive Care Measures: Other</vt:lpstr>
      <vt:lpstr>Behavioral Health Care Measures: Mental Health</vt:lpstr>
      <vt:lpstr>Behavioral Health Care Measures: Mental Health (Cont'd)</vt:lpstr>
      <vt:lpstr>Behavioral Health Care Measures: Mental Health (Cont'd)</vt:lpstr>
      <vt:lpstr>Agenda</vt:lpstr>
      <vt:lpstr>Next Steps: Meeting Schedul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epti Kanneganti</dc:creator>
  <cp:lastModifiedBy>Deepti Kanneganti</cp:lastModifiedBy>
  <cp:revision>5</cp:revision>
  <cp:lastPrinted>2017-05-30T14:59:29Z</cp:lastPrinted>
  <dcterms:created xsi:type="dcterms:W3CDTF">2017-08-09T20:41:40Z</dcterms:created>
  <dcterms:modified xsi:type="dcterms:W3CDTF">2017-08-09T21:29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3F9B95F2EE52B4E9FB130DEE3F78C09</vt:lpwstr>
  </property>
</Properties>
</file>